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media/image54.jpg" ContentType="image/gif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sldIdLst>
    <p:sldId id="259" r:id="rId2"/>
    <p:sldId id="261" r:id="rId3"/>
    <p:sldId id="260" r:id="rId4"/>
    <p:sldId id="288" r:id="rId5"/>
    <p:sldId id="262" r:id="rId6"/>
    <p:sldId id="266" r:id="rId7"/>
    <p:sldId id="267" r:id="rId8"/>
    <p:sldId id="268" r:id="rId9"/>
    <p:sldId id="263" r:id="rId10"/>
    <p:sldId id="269" r:id="rId11"/>
    <p:sldId id="270" r:id="rId12"/>
    <p:sldId id="271" r:id="rId13"/>
    <p:sldId id="272" r:id="rId14"/>
    <p:sldId id="273" r:id="rId15"/>
    <p:sldId id="274" r:id="rId16"/>
    <p:sldId id="275" r:id="rId17"/>
    <p:sldId id="276" r:id="rId18"/>
    <p:sldId id="277" r:id="rId19"/>
    <p:sldId id="278" r:id="rId20"/>
    <p:sldId id="279" r:id="rId21"/>
    <p:sldId id="280" r:id="rId22"/>
    <p:sldId id="281" r:id="rId23"/>
    <p:sldId id="282" r:id="rId24"/>
    <p:sldId id="283" r:id="rId25"/>
    <p:sldId id="284" r:id="rId26"/>
    <p:sldId id="286" r:id="rId27"/>
    <p:sldId id="287" r:id="rId28"/>
    <p:sldId id="264" r:id="rId29"/>
    <p:sldId id="258" r:id="rId30"/>
    <p:sldId id="257" r:id="rId31"/>
  </p:sldIdLst>
  <p:sldSz cx="12192000" cy="6858000"/>
  <p:notesSz cx="6858000" cy="9144000"/>
  <p:embeddedFontLst>
    <p:embeddedFont>
      <p:font typeface="Calibri" panose="020F0502020204030204" pitchFamily="34" charset="0"/>
      <p:regular r:id="rId32"/>
      <p:bold r:id="rId33"/>
      <p:italic r:id="rId34"/>
      <p:boldItalic r:id="rId35"/>
    </p:embeddedFont>
    <p:embeddedFont>
      <p:font typeface="Segoe UI Light" panose="020B0502040204020203" pitchFamily="34" charset="0"/>
      <p:regular r:id="rId36"/>
      <p:italic r:id="rId37"/>
    </p:embeddedFont>
  </p:embeddedFontLst>
  <p:custDataLst>
    <p:tags r:id="rId3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30442FE5-8EC8-4827-A73F-EE7C56F0820E}">
          <p14:sldIdLst>
            <p14:sldId id="259"/>
            <p14:sldId id="261"/>
            <p14:sldId id="260"/>
          </p14:sldIdLst>
        </p14:section>
        <p14:section name="Verlagerung der Monitoring-Anforderungen" id="{875BCAC4-FC35-4EAE-AA11-76CE676691ED}">
          <p14:sldIdLst>
            <p14:sldId id="288"/>
            <p14:sldId id="262"/>
            <p14:sldId id="266"/>
            <p14:sldId id="267"/>
          </p14:sldIdLst>
        </p14:section>
        <p14:section name="Was bietet Microsoft?" id="{90C6542D-81E7-42D3-B5D6-17608003851C}">
          <p14:sldIdLst>
            <p14:sldId id="268"/>
            <p14:sldId id="263"/>
            <p14:sldId id="269"/>
            <p14:sldId id="270"/>
          </p14:sldIdLst>
        </p14:section>
        <p14:section name="Probleme, die Sie kennen sollten" id="{DDEBF9A1-5B31-4F4C-A6C0-E902087FBB45}">
          <p14:sldIdLst>
            <p14:sldId id="271"/>
            <p14:sldId id="272"/>
            <p14:sldId id="273"/>
          </p14:sldIdLst>
        </p14:section>
        <p14:section name="Traditionelle Lücken bei der Anwendungsüberwachung" id="{F5F4F1EB-2BFE-451E-A309-44997F897943}">
          <p14:sldIdLst>
            <p14:sldId id="274"/>
            <p14:sldId id="275"/>
          </p14:sldIdLst>
        </p14:section>
        <p14:section name="Die Lösung" id="{7D3F68E5-229C-405A-9FE7-3CD5FB5D26F7}">
          <p14:sldIdLst>
            <p14:sldId id="276"/>
            <p14:sldId id="277"/>
            <p14:sldId id="278"/>
            <p14:sldId id="279"/>
            <p14:sldId id="280"/>
            <p14:sldId id="281"/>
            <p14:sldId id="282"/>
            <p14:sldId id="283"/>
            <p14:sldId id="284"/>
            <p14:sldId id="286"/>
            <p14:sldId id="287"/>
          </p14:sldIdLst>
        </p14:section>
        <p14:section name="Âbschluss" id="{3F656DAD-B81D-4366-9DDF-28BA9339BC14}">
          <p14:sldIdLst>
            <p14:sldId id="264"/>
            <p14:sldId id="258"/>
            <p14:sldId id="257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63C5464-EBD6-473A-B8CA-E88B40814603}" v="1" dt="2019-07-27T12:12:20.920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143" autoAdjust="0"/>
    <p:restoredTop sz="94660"/>
  </p:normalViewPr>
  <p:slideViewPr>
    <p:cSldViewPr snapToGrid="0">
      <p:cViewPr varScale="1">
        <p:scale>
          <a:sx n="112" d="100"/>
          <a:sy n="112" d="100"/>
        </p:scale>
        <p:origin x="132" y="43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presProps" Target="presProps.xml"/><Relationship Id="rId21" Type="http://schemas.openxmlformats.org/officeDocument/2006/relationships/slide" Target="slides/slide20.xml"/><Relationship Id="rId34" Type="http://schemas.openxmlformats.org/officeDocument/2006/relationships/font" Target="fonts/font3.fntdata"/><Relationship Id="rId42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font" Target="fonts/font1.fntdata"/><Relationship Id="rId37" Type="http://schemas.openxmlformats.org/officeDocument/2006/relationships/font" Target="fonts/font6.fntdata"/><Relationship Id="rId40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font" Target="fonts/font5.fntdata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microsoft.com/office/2015/10/relationships/revisionInfo" Target="revisionInfo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font" Target="fonts/font4.fntdata"/><Relationship Id="rId43" Type="http://schemas.microsoft.com/office/2016/11/relationships/changesInfo" Target="changesInfos/changesInfo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font" Target="fonts/font2.fntdata"/><Relationship Id="rId38" Type="http://schemas.openxmlformats.org/officeDocument/2006/relationships/tags" Target="tags/tag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homas Stensitzki" userId="75cafe6b-2f2a-469b-85c4-eec3b9c972ba" providerId="ADAL" clId="{AF326004-AB90-4846-A7D4-D12757E01B5E}"/>
  </pc:docChgLst>
  <pc:docChgLst>
    <pc:chgData name="Thomas Stensitzki" userId="75cafe6b-2f2a-469b-85c4-eec3b9c972ba" providerId="ADAL" clId="{147E48DF-3AC2-4180-83BF-CCC7025D4C5C}"/>
    <pc:docChg chg="custSel modSld">
      <pc:chgData name="Thomas Stensitzki" userId="75cafe6b-2f2a-469b-85c4-eec3b9c972ba" providerId="ADAL" clId="{147E48DF-3AC2-4180-83BF-CCC7025D4C5C}" dt="2019-04-28T13:03:04.993" v="143" actId="114"/>
      <pc:docMkLst>
        <pc:docMk/>
      </pc:docMkLst>
      <pc:sldChg chg="addSp modSp">
        <pc:chgData name="Thomas Stensitzki" userId="75cafe6b-2f2a-469b-85c4-eec3b9c972ba" providerId="ADAL" clId="{147E48DF-3AC2-4180-83BF-CCC7025D4C5C}" dt="2019-04-28T13:03:04.993" v="143" actId="114"/>
        <pc:sldMkLst>
          <pc:docMk/>
          <pc:sldMk cId="2333699400" sldId="258"/>
        </pc:sldMkLst>
        <pc:spChg chg="add mod">
          <ac:chgData name="Thomas Stensitzki" userId="75cafe6b-2f2a-469b-85c4-eec3b9c972ba" providerId="ADAL" clId="{147E48DF-3AC2-4180-83BF-CCC7025D4C5C}" dt="2019-04-28T13:03:04.993" v="143" actId="114"/>
          <ac:spMkLst>
            <pc:docMk/>
            <pc:sldMk cId="2333699400" sldId="258"/>
            <ac:spMk id="9" creationId="{3D816D30-7869-4FD3-9C0D-CD0ED3E85650}"/>
          </ac:spMkLst>
        </pc:spChg>
      </pc:sldChg>
    </pc:docChg>
  </pc:docChgLst>
  <pc:docChgLst>
    <pc:chgData name="Thomas Stensitzki" userId="75cafe6b-2f2a-469b-85c4-eec3b9c972ba" providerId="ADAL" clId="{D63C5464-EBD6-473A-B8CA-E88B40814603}"/>
    <pc:docChg chg="modSld">
      <pc:chgData name="Thomas Stensitzki" userId="75cafe6b-2f2a-469b-85c4-eec3b9c972ba" providerId="ADAL" clId="{D63C5464-EBD6-473A-B8CA-E88B40814603}" dt="2019-07-27T12:12:20.920" v="0" actId="208"/>
      <pc:docMkLst>
        <pc:docMk/>
      </pc:docMkLst>
      <pc:sldChg chg="modSp">
        <pc:chgData name="Thomas Stensitzki" userId="75cafe6b-2f2a-469b-85c4-eec3b9c972ba" providerId="ADAL" clId="{D63C5464-EBD6-473A-B8CA-E88B40814603}" dt="2019-07-27T12:12:20.920" v="0" actId="208"/>
        <pc:sldMkLst>
          <pc:docMk/>
          <pc:sldMk cId="2288276608" sldId="283"/>
        </pc:sldMkLst>
        <pc:spChg chg="mod">
          <ac:chgData name="Thomas Stensitzki" userId="75cafe6b-2f2a-469b-85c4-eec3b9c972ba" providerId="ADAL" clId="{D63C5464-EBD6-473A-B8CA-E88B40814603}" dt="2019-07-27T12:12:20.920" v="0" actId="208"/>
          <ac:spMkLst>
            <pc:docMk/>
            <pc:sldMk cId="2288276608" sldId="283"/>
            <ac:spMk id="20" creationId="{43582B71-A0C7-4E93-9AA5-63CCB0922B74}"/>
          </ac:spMkLst>
        </pc:spChg>
      </pc:sldChg>
    </pc:docChg>
  </pc:docChgLst>
  <pc:docChgLst>
    <pc:chgData name="Thomas Stensitzki" userId="75cafe6b-2f2a-469b-85c4-eec3b9c972ba" providerId="ADAL" clId="{F17CDA02-90FA-4D24-97F8-535DD3CEBAF4}"/>
    <pc:docChg chg="undo custSel addSld delSld modSld sldOrd addSection modSection">
      <pc:chgData name="Thomas Stensitzki" userId="75cafe6b-2f2a-469b-85c4-eec3b9c972ba" providerId="ADAL" clId="{F17CDA02-90FA-4D24-97F8-535DD3CEBAF4}" dt="2019-06-26T13:42:34.253" v="10201" actId="20577"/>
      <pc:docMkLst>
        <pc:docMk/>
      </pc:docMkLst>
      <pc:sldChg chg="modTransition">
        <pc:chgData name="Thomas Stensitzki" userId="75cafe6b-2f2a-469b-85c4-eec3b9c972ba" providerId="ADAL" clId="{F17CDA02-90FA-4D24-97F8-535DD3CEBAF4}" dt="2019-06-22T09:03:16.708" v="201"/>
        <pc:sldMkLst>
          <pc:docMk/>
          <pc:sldMk cId="837893050" sldId="257"/>
        </pc:sldMkLst>
      </pc:sldChg>
      <pc:sldChg chg="modSp modTransition">
        <pc:chgData name="Thomas Stensitzki" userId="75cafe6b-2f2a-469b-85c4-eec3b9c972ba" providerId="ADAL" clId="{F17CDA02-90FA-4D24-97F8-535DD3CEBAF4}" dt="2019-06-22T09:03:16.708" v="201"/>
        <pc:sldMkLst>
          <pc:docMk/>
          <pc:sldMk cId="2333699400" sldId="258"/>
        </pc:sldMkLst>
        <pc:spChg chg="mod">
          <ac:chgData name="Thomas Stensitzki" userId="75cafe6b-2f2a-469b-85c4-eec3b9c972ba" providerId="ADAL" clId="{F17CDA02-90FA-4D24-97F8-535DD3CEBAF4}" dt="2019-06-22T08:57:05.281" v="149" actId="20577"/>
          <ac:spMkLst>
            <pc:docMk/>
            <pc:sldMk cId="2333699400" sldId="258"/>
            <ac:spMk id="9" creationId="{3D816D30-7869-4FD3-9C0D-CD0ED3E85650}"/>
          </ac:spMkLst>
        </pc:spChg>
      </pc:sldChg>
      <pc:sldChg chg="modSp modTransition">
        <pc:chgData name="Thomas Stensitzki" userId="75cafe6b-2f2a-469b-85c4-eec3b9c972ba" providerId="ADAL" clId="{F17CDA02-90FA-4D24-97F8-535DD3CEBAF4}" dt="2019-06-23T20:29:14.508" v="9873" actId="20577"/>
        <pc:sldMkLst>
          <pc:docMk/>
          <pc:sldMk cId="2756875683" sldId="259"/>
        </pc:sldMkLst>
        <pc:spChg chg="mod">
          <ac:chgData name="Thomas Stensitzki" userId="75cafe6b-2f2a-469b-85c4-eec3b9c972ba" providerId="ADAL" clId="{F17CDA02-90FA-4D24-97F8-535DD3CEBAF4}" dt="2019-06-23T20:29:14.508" v="9873" actId="20577"/>
          <ac:spMkLst>
            <pc:docMk/>
            <pc:sldMk cId="2756875683" sldId="259"/>
            <ac:spMk id="2" creationId="{00000000-0000-0000-0000-000000000000}"/>
          </ac:spMkLst>
        </pc:spChg>
        <pc:spChg chg="mod">
          <ac:chgData name="Thomas Stensitzki" userId="75cafe6b-2f2a-469b-85c4-eec3b9c972ba" providerId="ADAL" clId="{F17CDA02-90FA-4D24-97F8-535DD3CEBAF4}" dt="2019-06-22T08:52:09.196" v="59" actId="20577"/>
          <ac:spMkLst>
            <pc:docMk/>
            <pc:sldMk cId="2756875683" sldId="259"/>
            <ac:spMk id="3" creationId="{00000000-0000-0000-0000-000000000000}"/>
          </ac:spMkLst>
        </pc:spChg>
      </pc:sldChg>
      <pc:sldChg chg="delSp modSp modTransition">
        <pc:chgData name="Thomas Stensitzki" userId="75cafe6b-2f2a-469b-85c4-eec3b9c972ba" providerId="ADAL" clId="{F17CDA02-90FA-4D24-97F8-535DD3CEBAF4}" dt="2019-06-25T15:32:19.058" v="10082"/>
        <pc:sldMkLst>
          <pc:docMk/>
          <pc:sldMk cId="3559981207" sldId="260"/>
        </pc:sldMkLst>
        <pc:spChg chg="mod">
          <ac:chgData name="Thomas Stensitzki" userId="75cafe6b-2f2a-469b-85c4-eec3b9c972ba" providerId="ADAL" clId="{F17CDA02-90FA-4D24-97F8-535DD3CEBAF4}" dt="2019-06-23T19:29:32.660" v="8848" actId="20577"/>
          <ac:spMkLst>
            <pc:docMk/>
            <pc:sldMk cId="3559981207" sldId="260"/>
            <ac:spMk id="2" creationId="{00000000-0000-0000-0000-000000000000}"/>
          </ac:spMkLst>
        </pc:spChg>
        <pc:spChg chg="del mod">
          <ac:chgData name="Thomas Stensitzki" userId="75cafe6b-2f2a-469b-85c4-eec3b9c972ba" providerId="ADAL" clId="{F17CDA02-90FA-4D24-97F8-535DD3CEBAF4}" dt="2019-06-22T08:52:33.450" v="62"/>
          <ac:spMkLst>
            <pc:docMk/>
            <pc:sldMk cId="3559981207" sldId="260"/>
            <ac:spMk id="8" creationId="{7C08ABE5-F255-4657-9558-C1FEBA17B443}"/>
          </ac:spMkLst>
        </pc:spChg>
        <pc:spChg chg="mod">
          <ac:chgData name="Thomas Stensitzki" userId="75cafe6b-2f2a-469b-85c4-eec3b9c972ba" providerId="ADAL" clId="{F17CDA02-90FA-4D24-97F8-535DD3CEBAF4}" dt="2019-06-23T19:32:00.656" v="8962" actId="6549"/>
          <ac:spMkLst>
            <pc:docMk/>
            <pc:sldMk cId="3559981207" sldId="260"/>
            <ac:spMk id="10" creationId="{B6C82018-3793-45F7-8433-BA8EB69B9852}"/>
          </ac:spMkLst>
        </pc:spChg>
      </pc:sldChg>
      <pc:sldChg chg="addSp delSp modSp ord modTransition">
        <pc:chgData name="Thomas Stensitzki" userId="75cafe6b-2f2a-469b-85c4-eec3b9c972ba" providerId="ADAL" clId="{F17CDA02-90FA-4D24-97F8-535DD3CEBAF4}" dt="2019-06-25T15:33:58.943" v="10096" actId="14100"/>
        <pc:sldMkLst>
          <pc:docMk/>
          <pc:sldMk cId="407733198" sldId="261"/>
        </pc:sldMkLst>
        <pc:spChg chg="del mod">
          <ac:chgData name="Thomas Stensitzki" userId="75cafe6b-2f2a-469b-85c4-eec3b9c972ba" providerId="ADAL" clId="{F17CDA02-90FA-4D24-97F8-535DD3CEBAF4}" dt="2019-06-25T15:32:37.592" v="10087" actId="478"/>
          <ac:spMkLst>
            <pc:docMk/>
            <pc:sldMk cId="407733198" sldId="261"/>
            <ac:spMk id="2" creationId="{00000000-0000-0000-0000-000000000000}"/>
          </ac:spMkLst>
        </pc:spChg>
        <pc:spChg chg="add del mod">
          <ac:chgData name="Thomas Stensitzki" userId="75cafe6b-2f2a-469b-85c4-eec3b9c972ba" providerId="ADAL" clId="{F17CDA02-90FA-4D24-97F8-535DD3CEBAF4}" dt="2019-06-25T15:32:41.113" v="10088" actId="478"/>
          <ac:spMkLst>
            <pc:docMk/>
            <pc:sldMk cId="407733198" sldId="261"/>
            <ac:spMk id="7" creationId="{352D3FD0-553F-4FFE-B2A9-80083B20C457}"/>
          </ac:spMkLst>
        </pc:spChg>
        <pc:spChg chg="del">
          <ac:chgData name="Thomas Stensitzki" userId="75cafe6b-2f2a-469b-85c4-eec3b9c972ba" providerId="ADAL" clId="{F17CDA02-90FA-4D24-97F8-535DD3CEBAF4}" dt="2019-06-22T14:44:15.379" v="2940" actId="478"/>
          <ac:spMkLst>
            <pc:docMk/>
            <pc:sldMk cId="407733198" sldId="261"/>
            <ac:spMk id="8" creationId="{7C08ABE5-F255-4657-9558-C1FEBA17B443}"/>
          </ac:spMkLst>
        </pc:spChg>
        <pc:spChg chg="add mod">
          <ac:chgData name="Thomas Stensitzki" userId="75cafe6b-2f2a-469b-85c4-eec3b9c972ba" providerId="ADAL" clId="{F17CDA02-90FA-4D24-97F8-535DD3CEBAF4}" dt="2019-06-25T15:33:24.494" v="10091" actId="120"/>
          <ac:spMkLst>
            <pc:docMk/>
            <pc:sldMk cId="407733198" sldId="261"/>
            <ac:spMk id="11" creationId="{9CD14914-5634-4B10-81E1-CDB4CCEA0CB8}"/>
          </ac:spMkLst>
        </pc:spChg>
        <pc:picChg chg="add mod">
          <ac:chgData name="Thomas Stensitzki" userId="75cafe6b-2f2a-469b-85c4-eec3b9c972ba" providerId="ADAL" clId="{F17CDA02-90FA-4D24-97F8-535DD3CEBAF4}" dt="2019-06-25T15:33:39.275" v="10093" actId="1076"/>
          <ac:picMkLst>
            <pc:docMk/>
            <pc:sldMk cId="407733198" sldId="261"/>
            <ac:picMk id="12" creationId="{48DF4F44-8B59-48DB-9C01-BA23A5FAE614}"/>
          </ac:picMkLst>
        </pc:picChg>
        <pc:picChg chg="add mod">
          <ac:chgData name="Thomas Stensitzki" userId="75cafe6b-2f2a-469b-85c4-eec3b9c972ba" providerId="ADAL" clId="{F17CDA02-90FA-4D24-97F8-535DD3CEBAF4}" dt="2019-06-25T15:33:58.943" v="10096" actId="14100"/>
          <ac:picMkLst>
            <pc:docMk/>
            <pc:sldMk cId="407733198" sldId="261"/>
            <ac:picMk id="16" creationId="{DA10E953-2D1C-4328-B5EC-FF03C6F16CB5}"/>
          </ac:picMkLst>
        </pc:picChg>
      </pc:sldChg>
      <pc:sldChg chg="addSp delSp modSp modTransition modAnim">
        <pc:chgData name="Thomas Stensitzki" userId="75cafe6b-2f2a-469b-85c4-eec3b9c972ba" providerId="ADAL" clId="{F17CDA02-90FA-4D24-97F8-535DD3CEBAF4}" dt="2019-06-23T21:02:12.008" v="10081" actId="6549"/>
        <pc:sldMkLst>
          <pc:docMk/>
          <pc:sldMk cId="232194961" sldId="262"/>
        </pc:sldMkLst>
        <pc:spChg chg="add del mod">
          <ac:chgData name="Thomas Stensitzki" userId="75cafe6b-2f2a-469b-85c4-eec3b9c972ba" providerId="ADAL" clId="{F17CDA02-90FA-4D24-97F8-535DD3CEBAF4}" dt="2019-06-22T09:17:19.014" v="535" actId="478"/>
          <ac:spMkLst>
            <pc:docMk/>
            <pc:sldMk cId="232194961" sldId="262"/>
            <ac:spMk id="2" creationId="{00000000-0000-0000-0000-000000000000}"/>
          </ac:spMkLst>
        </pc:spChg>
        <pc:spChg chg="add del mod">
          <ac:chgData name="Thomas Stensitzki" userId="75cafe6b-2f2a-469b-85c4-eec3b9c972ba" providerId="ADAL" clId="{F17CDA02-90FA-4D24-97F8-535DD3CEBAF4}" dt="2019-06-22T09:01:26.440" v="156" actId="478"/>
          <ac:spMkLst>
            <pc:docMk/>
            <pc:sldMk cId="232194961" sldId="262"/>
            <ac:spMk id="7" creationId="{C2C0C75F-87AA-470C-BC39-36E3D3BFF2E3}"/>
          </ac:spMkLst>
        </pc:spChg>
        <pc:spChg chg="del">
          <ac:chgData name="Thomas Stensitzki" userId="75cafe6b-2f2a-469b-85c4-eec3b9c972ba" providerId="ADAL" clId="{F17CDA02-90FA-4D24-97F8-535DD3CEBAF4}" dt="2019-06-22T08:58:20.567" v="151" actId="478"/>
          <ac:spMkLst>
            <pc:docMk/>
            <pc:sldMk cId="232194961" sldId="262"/>
            <ac:spMk id="8" creationId="{7C08ABE5-F255-4657-9558-C1FEBA17B443}"/>
          </ac:spMkLst>
        </pc:spChg>
        <pc:spChg chg="add del">
          <ac:chgData name="Thomas Stensitzki" userId="75cafe6b-2f2a-469b-85c4-eec3b9c972ba" providerId="ADAL" clId="{F17CDA02-90FA-4D24-97F8-535DD3CEBAF4}" dt="2019-06-22T09:01:27.004" v="157"/>
          <ac:spMkLst>
            <pc:docMk/>
            <pc:sldMk cId="232194961" sldId="262"/>
            <ac:spMk id="14" creationId="{C3572B19-C6F7-48DC-83ED-08171A9C35A1}"/>
          </ac:spMkLst>
        </pc:spChg>
        <pc:spChg chg="add mod">
          <ac:chgData name="Thomas Stensitzki" userId="75cafe6b-2f2a-469b-85c4-eec3b9c972ba" providerId="ADAL" clId="{F17CDA02-90FA-4D24-97F8-535DD3CEBAF4}" dt="2019-06-22T09:17:59.114" v="599" actId="1035"/>
          <ac:spMkLst>
            <pc:docMk/>
            <pc:sldMk cId="232194961" sldId="262"/>
            <ac:spMk id="18" creationId="{EFA25D47-6F3F-4CE7-98C3-45B42F9AC6D9}"/>
          </ac:spMkLst>
        </pc:spChg>
        <pc:spChg chg="add mod">
          <ac:chgData name="Thomas Stensitzki" userId="75cafe6b-2f2a-469b-85c4-eec3b9c972ba" providerId="ADAL" clId="{F17CDA02-90FA-4D24-97F8-535DD3CEBAF4}" dt="2019-06-23T21:02:12.008" v="10081" actId="6549"/>
          <ac:spMkLst>
            <pc:docMk/>
            <pc:sldMk cId="232194961" sldId="262"/>
            <ac:spMk id="19" creationId="{AACFC5E4-6547-4C8A-A7C0-7A4627049468}"/>
          </ac:spMkLst>
        </pc:spChg>
        <pc:spChg chg="add del mod">
          <ac:chgData name="Thomas Stensitzki" userId="75cafe6b-2f2a-469b-85c4-eec3b9c972ba" providerId="ADAL" clId="{F17CDA02-90FA-4D24-97F8-535DD3CEBAF4}" dt="2019-06-22T09:17:22.553" v="536" actId="478"/>
          <ac:spMkLst>
            <pc:docMk/>
            <pc:sldMk cId="232194961" sldId="262"/>
            <ac:spMk id="20" creationId="{90577F44-CDAF-4661-9792-1BA5A622FEA8}"/>
          </ac:spMkLst>
        </pc:spChg>
        <pc:picChg chg="add del">
          <ac:chgData name="Thomas Stensitzki" userId="75cafe6b-2f2a-469b-85c4-eec3b9c972ba" providerId="ADAL" clId="{F17CDA02-90FA-4D24-97F8-535DD3CEBAF4}" dt="2019-06-22T09:01:27.004" v="157"/>
          <ac:picMkLst>
            <pc:docMk/>
            <pc:sldMk cId="232194961" sldId="262"/>
            <ac:picMk id="11" creationId="{60245690-F00B-454E-BB8F-135EDA163CF3}"/>
          </ac:picMkLst>
        </pc:picChg>
        <pc:picChg chg="add del">
          <ac:chgData name="Thomas Stensitzki" userId="75cafe6b-2f2a-469b-85c4-eec3b9c972ba" providerId="ADAL" clId="{F17CDA02-90FA-4D24-97F8-535DD3CEBAF4}" dt="2019-06-22T09:01:27.004" v="157"/>
          <ac:picMkLst>
            <pc:docMk/>
            <pc:sldMk cId="232194961" sldId="262"/>
            <ac:picMk id="12" creationId="{70B06F21-C048-4A7B-8EEF-CC0CF5B12948}"/>
          </ac:picMkLst>
        </pc:picChg>
        <pc:picChg chg="add mod">
          <ac:chgData name="Thomas Stensitzki" userId="75cafe6b-2f2a-469b-85c4-eec3b9c972ba" providerId="ADAL" clId="{F17CDA02-90FA-4D24-97F8-535DD3CEBAF4}" dt="2019-06-22T09:17:59.114" v="599" actId="1035"/>
          <ac:picMkLst>
            <pc:docMk/>
            <pc:sldMk cId="232194961" sldId="262"/>
            <ac:picMk id="16" creationId="{CC41B3A1-0F4B-445E-9982-F313EEE9BE05}"/>
          </ac:picMkLst>
        </pc:picChg>
        <pc:picChg chg="add mod">
          <ac:chgData name="Thomas Stensitzki" userId="75cafe6b-2f2a-469b-85c4-eec3b9c972ba" providerId="ADAL" clId="{F17CDA02-90FA-4D24-97F8-535DD3CEBAF4}" dt="2019-06-22T09:17:59.114" v="599" actId="1035"/>
          <ac:picMkLst>
            <pc:docMk/>
            <pc:sldMk cId="232194961" sldId="262"/>
            <ac:picMk id="17" creationId="{73FDB7A6-1B1E-4B64-90E6-ACFF2C1D09B6}"/>
          </ac:picMkLst>
        </pc:picChg>
      </pc:sldChg>
      <pc:sldChg chg="addSp delSp modSp ord modTransition modAnim">
        <pc:chgData name="Thomas Stensitzki" userId="75cafe6b-2f2a-469b-85c4-eec3b9c972ba" providerId="ADAL" clId="{F17CDA02-90FA-4D24-97F8-535DD3CEBAF4}" dt="2019-06-23T20:01:15.270" v="9645" actId="1038"/>
        <pc:sldMkLst>
          <pc:docMk/>
          <pc:sldMk cId="498703347" sldId="263"/>
        </pc:sldMkLst>
        <pc:spChg chg="del">
          <ac:chgData name="Thomas Stensitzki" userId="75cafe6b-2f2a-469b-85c4-eec3b9c972ba" providerId="ADAL" clId="{F17CDA02-90FA-4D24-97F8-535DD3CEBAF4}" dt="2019-06-22T09:26:59.833" v="773" actId="478"/>
          <ac:spMkLst>
            <pc:docMk/>
            <pc:sldMk cId="498703347" sldId="263"/>
            <ac:spMk id="2" creationId="{00000000-0000-0000-0000-000000000000}"/>
          </ac:spMkLst>
        </pc:spChg>
        <pc:spChg chg="del">
          <ac:chgData name="Thomas Stensitzki" userId="75cafe6b-2f2a-469b-85c4-eec3b9c972ba" providerId="ADAL" clId="{F17CDA02-90FA-4D24-97F8-535DD3CEBAF4}" dt="2019-06-22T09:27:06.101" v="775" actId="478"/>
          <ac:spMkLst>
            <pc:docMk/>
            <pc:sldMk cId="498703347" sldId="263"/>
            <ac:spMk id="8" creationId="{7C08ABE5-F255-4657-9558-C1FEBA17B443}"/>
          </ac:spMkLst>
        </pc:spChg>
        <pc:spChg chg="add del mod">
          <ac:chgData name="Thomas Stensitzki" userId="75cafe6b-2f2a-469b-85c4-eec3b9c972ba" providerId="ADAL" clId="{F17CDA02-90FA-4D24-97F8-535DD3CEBAF4}" dt="2019-06-22T09:27:04.641" v="774" actId="478"/>
          <ac:spMkLst>
            <pc:docMk/>
            <pc:sldMk cId="498703347" sldId="263"/>
            <ac:spMk id="9" creationId="{7F93D207-0022-4D2D-8533-7204825F6AB2}"/>
          </ac:spMkLst>
        </pc:spChg>
        <pc:spChg chg="add mod">
          <ac:chgData name="Thomas Stensitzki" userId="75cafe6b-2f2a-469b-85c4-eec3b9c972ba" providerId="ADAL" clId="{F17CDA02-90FA-4D24-97F8-535DD3CEBAF4}" dt="2019-06-22T09:26:56.800" v="772" actId="20577"/>
          <ac:spMkLst>
            <pc:docMk/>
            <pc:sldMk cId="498703347" sldId="263"/>
            <ac:spMk id="14" creationId="{F2CD2A51-0F8F-4617-BD22-C4A2B0C6256C}"/>
          </ac:spMkLst>
        </pc:spChg>
        <pc:spChg chg="add mod">
          <ac:chgData name="Thomas Stensitzki" userId="75cafe6b-2f2a-469b-85c4-eec3b9c972ba" providerId="ADAL" clId="{F17CDA02-90FA-4D24-97F8-535DD3CEBAF4}" dt="2019-06-22T09:30:38.072" v="912" actId="164"/>
          <ac:spMkLst>
            <pc:docMk/>
            <pc:sldMk cId="498703347" sldId="263"/>
            <ac:spMk id="16" creationId="{2C82246E-AC26-4251-A476-A2371A115D93}"/>
          </ac:spMkLst>
        </pc:spChg>
        <pc:spChg chg="add mod">
          <ac:chgData name="Thomas Stensitzki" userId="75cafe6b-2f2a-469b-85c4-eec3b9c972ba" providerId="ADAL" clId="{F17CDA02-90FA-4D24-97F8-535DD3CEBAF4}" dt="2019-06-22T09:29:56.837" v="877" actId="164"/>
          <ac:spMkLst>
            <pc:docMk/>
            <pc:sldMk cId="498703347" sldId="263"/>
            <ac:spMk id="17" creationId="{A4D7492F-88E8-4E3E-84CC-9222C6F44A0E}"/>
          </ac:spMkLst>
        </pc:spChg>
        <pc:spChg chg="add mod">
          <ac:chgData name="Thomas Stensitzki" userId="75cafe6b-2f2a-469b-85c4-eec3b9c972ba" providerId="ADAL" clId="{F17CDA02-90FA-4D24-97F8-535DD3CEBAF4}" dt="2019-06-22T09:29:32.887" v="875" actId="164"/>
          <ac:spMkLst>
            <pc:docMk/>
            <pc:sldMk cId="498703347" sldId="263"/>
            <ac:spMk id="18" creationId="{24802968-4129-42A4-A9C3-F974E1B04D20}"/>
          </ac:spMkLst>
        </pc:spChg>
        <pc:spChg chg="add mod">
          <ac:chgData name="Thomas Stensitzki" userId="75cafe6b-2f2a-469b-85c4-eec3b9c972ba" providerId="ADAL" clId="{F17CDA02-90FA-4D24-97F8-535DD3CEBAF4}" dt="2019-06-22T09:29:56.837" v="877" actId="164"/>
          <ac:spMkLst>
            <pc:docMk/>
            <pc:sldMk cId="498703347" sldId="263"/>
            <ac:spMk id="19" creationId="{79F400B7-00A6-454B-B2E9-1C3902333CE8}"/>
          </ac:spMkLst>
        </pc:spChg>
        <pc:spChg chg="add mod">
          <ac:chgData name="Thomas Stensitzki" userId="75cafe6b-2f2a-469b-85c4-eec3b9c972ba" providerId="ADAL" clId="{F17CDA02-90FA-4D24-97F8-535DD3CEBAF4}" dt="2019-06-22T09:29:32.887" v="875" actId="164"/>
          <ac:spMkLst>
            <pc:docMk/>
            <pc:sldMk cId="498703347" sldId="263"/>
            <ac:spMk id="20" creationId="{645112B8-4769-47E7-B7C7-B78FFF461626}"/>
          </ac:spMkLst>
        </pc:spChg>
        <pc:spChg chg="add mod">
          <ac:chgData name="Thomas Stensitzki" userId="75cafe6b-2f2a-469b-85c4-eec3b9c972ba" providerId="ADAL" clId="{F17CDA02-90FA-4D24-97F8-535DD3CEBAF4}" dt="2019-06-22T09:29:56.837" v="877" actId="164"/>
          <ac:spMkLst>
            <pc:docMk/>
            <pc:sldMk cId="498703347" sldId="263"/>
            <ac:spMk id="21" creationId="{927DF210-7557-4D21-B24E-82B56D8BA5E7}"/>
          </ac:spMkLst>
        </pc:spChg>
        <pc:spChg chg="add mod">
          <ac:chgData name="Thomas Stensitzki" userId="75cafe6b-2f2a-469b-85c4-eec3b9c972ba" providerId="ADAL" clId="{F17CDA02-90FA-4D24-97F8-535DD3CEBAF4}" dt="2019-06-22T09:30:38.072" v="912" actId="164"/>
          <ac:spMkLst>
            <pc:docMk/>
            <pc:sldMk cId="498703347" sldId="263"/>
            <ac:spMk id="22" creationId="{605907F2-4D74-4FD9-AF62-4C55A573C63A}"/>
          </ac:spMkLst>
        </pc:spChg>
        <pc:spChg chg="add mod">
          <ac:chgData name="Thomas Stensitzki" userId="75cafe6b-2f2a-469b-85c4-eec3b9c972ba" providerId="ADAL" clId="{F17CDA02-90FA-4D24-97F8-535DD3CEBAF4}" dt="2019-06-22T09:30:38.072" v="912" actId="164"/>
          <ac:spMkLst>
            <pc:docMk/>
            <pc:sldMk cId="498703347" sldId="263"/>
            <ac:spMk id="23" creationId="{849D2028-6EF0-4E96-B769-238D0753A1FE}"/>
          </ac:spMkLst>
        </pc:spChg>
        <pc:spChg chg="add mod">
          <ac:chgData name="Thomas Stensitzki" userId="75cafe6b-2f2a-469b-85c4-eec3b9c972ba" providerId="ADAL" clId="{F17CDA02-90FA-4D24-97F8-535DD3CEBAF4}" dt="2019-06-22T09:29:32.887" v="875" actId="164"/>
          <ac:spMkLst>
            <pc:docMk/>
            <pc:sldMk cId="498703347" sldId="263"/>
            <ac:spMk id="24" creationId="{83A33767-7C79-47B5-8798-5A75236F4CC9}"/>
          </ac:spMkLst>
        </pc:spChg>
        <pc:grpChg chg="add mod">
          <ac:chgData name="Thomas Stensitzki" userId="75cafe6b-2f2a-469b-85c4-eec3b9c972ba" providerId="ADAL" clId="{F17CDA02-90FA-4D24-97F8-535DD3CEBAF4}" dt="2019-06-22T09:29:32.887" v="875" actId="164"/>
          <ac:grpSpMkLst>
            <pc:docMk/>
            <pc:sldMk cId="498703347" sldId="263"/>
            <ac:grpSpMk id="10" creationId="{E62180DF-9859-4D19-8D38-017F0426ADC8}"/>
          </ac:grpSpMkLst>
        </pc:grpChg>
        <pc:grpChg chg="add mod">
          <ac:chgData name="Thomas Stensitzki" userId="75cafe6b-2f2a-469b-85c4-eec3b9c972ba" providerId="ADAL" clId="{F17CDA02-90FA-4D24-97F8-535DD3CEBAF4}" dt="2019-06-22T09:29:56.837" v="877" actId="164"/>
          <ac:grpSpMkLst>
            <pc:docMk/>
            <pc:sldMk cId="498703347" sldId="263"/>
            <ac:grpSpMk id="25" creationId="{5820FD9F-C7E2-49C3-98F8-1F1508B9A608}"/>
          </ac:grpSpMkLst>
        </pc:grpChg>
        <pc:grpChg chg="add mod">
          <ac:chgData name="Thomas Stensitzki" userId="75cafe6b-2f2a-469b-85c4-eec3b9c972ba" providerId="ADAL" clId="{F17CDA02-90FA-4D24-97F8-535DD3CEBAF4}" dt="2019-06-22T09:30:38.072" v="912" actId="164"/>
          <ac:grpSpMkLst>
            <pc:docMk/>
            <pc:sldMk cId="498703347" sldId="263"/>
            <ac:grpSpMk id="26" creationId="{6612D731-F396-42C6-B8B4-BFEF3244B441}"/>
          </ac:grpSpMkLst>
        </pc:grpChg>
        <pc:picChg chg="del">
          <ac:chgData name="Thomas Stensitzki" userId="75cafe6b-2f2a-469b-85c4-eec3b9c972ba" providerId="ADAL" clId="{F17CDA02-90FA-4D24-97F8-535DD3CEBAF4}" dt="2019-06-22T09:24:35.242" v="741" actId="478"/>
          <ac:picMkLst>
            <pc:docMk/>
            <pc:sldMk cId="498703347" sldId="263"/>
            <ac:picMk id="7" creationId="{1E1A63FB-2041-4E76-A31F-F4DC49F6CEC6}"/>
          </ac:picMkLst>
        </pc:picChg>
        <pc:picChg chg="add mod">
          <ac:chgData name="Thomas Stensitzki" userId="75cafe6b-2f2a-469b-85c4-eec3b9c972ba" providerId="ADAL" clId="{F17CDA02-90FA-4D24-97F8-535DD3CEBAF4}" dt="2019-06-23T20:01:15.270" v="9645" actId="1038"/>
          <ac:picMkLst>
            <pc:docMk/>
            <pc:sldMk cId="498703347" sldId="263"/>
            <ac:picMk id="11" creationId="{5D20DFC2-CAB0-4DCD-94BD-CBCFB836B235}"/>
          </ac:picMkLst>
        </pc:picChg>
      </pc:sldChg>
      <pc:sldChg chg="modTransition">
        <pc:chgData name="Thomas Stensitzki" userId="75cafe6b-2f2a-469b-85c4-eec3b9c972ba" providerId="ADAL" clId="{F17CDA02-90FA-4D24-97F8-535DD3CEBAF4}" dt="2019-06-22T09:03:16.708" v="201"/>
        <pc:sldMkLst>
          <pc:docMk/>
          <pc:sldMk cId="1376673252" sldId="264"/>
        </pc:sldMkLst>
      </pc:sldChg>
      <pc:sldChg chg="addSp delSp modSp add modAnim">
        <pc:chgData name="Thomas Stensitzki" userId="75cafe6b-2f2a-469b-85c4-eec3b9c972ba" providerId="ADAL" clId="{F17CDA02-90FA-4D24-97F8-535DD3CEBAF4}" dt="2019-06-23T19:59:35.926" v="9634" actId="1440"/>
        <pc:sldMkLst>
          <pc:docMk/>
          <pc:sldMk cId="3216849566" sldId="266"/>
        </pc:sldMkLst>
        <pc:spChg chg="del mod">
          <ac:chgData name="Thomas Stensitzki" userId="75cafe6b-2f2a-469b-85c4-eec3b9c972ba" providerId="ADAL" clId="{F17CDA02-90FA-4D24-97F8-535DD3CEBAF4}" dt="2019-06-22T09:16:55.694" v="530" actId="478"/>
          <ac:spMkLst>
            <pc:docMk/>
            <pc:sldMk cId="3216849566" sldId="266"/>
            <ac:spMk id="2" creationId="{00000000-0000-0000-0000-000000000000}"/>
          </ac:spMkLst>
        </pc:spChg>
        <pc:spChg chg="add del mod">
          <ac:chgData name="Thomas Stensitzki" userId="75cafe6b-2f2a-469b-85c4-eec3b9c972ba" providerId="ADAL" clId="{F17CDA02-90FA-4D24-97F8-535DD3CEBAF4}" dt="2019-06-22T09:16:59.096" v="531" actId="478"/>
          <ac:spMkLst>
            <pc:docMk/>
            <pc:sldMk cId="3216849566" sldId="266"/>
            <ac:spMk id="7" creationId="{4B0F59B3-2196-40A6-A10B-521914701B82}"/>
          </ac:spMkLst>
        </pc:spChg>
        <pc:spChg chg="add mod">
          <ac:chgData name="Thomas Stensitzki" userId="75cafe6b-2f2a-469b-85c4-eec3b9c972ba" providerId="ADAL" clId="{F17CDA02-90FA-4D24-97F8-535DD3CEBAF4}" dt="2019-06-22T09:17:01.945" v="532" actId="114"/>
          <ac:spMkLst>
            <pc:docMk/>
            <pc:sldMk cId="3216849566" sldId="266"/>
            <ac:spMk id="14" creationId="{459C9037-D9DA-4967-97CD-4F0E0FABC3E7}"/>
          </ac:spMkLst>
        </pc:spChg>
        <pc:spChg chg="del">
          <ac:chgData name="Thomas Stensitzki" userId="75cafe6b-2f2a-469b-85c4-eec3b9c972ba" providerId="ADAL" clId="{F17CDA02-90FA-4D24-97F8-535DD3CEBAF4}" dt="2019-06-22T09:09:16.458" v="216" actId="478"/>
          <ac:spMkLst>
            <pc:docMk/>
            <pc:sldMk cId="3216849566" sldId="266"/>
            <ac:spMk id="18" creationId="{EFA25D47-6F3F-4CE7-98C3-45B42F9AC6D9}"/>
          </ac:spMkLst>
        </pc:spChg>
        <pc:picChg chg="add mod">
          <ac:chgData name="Thomas Stensitzki" userId="75cafe6b-2f2a-469b-85c4-eec3b9c972ba" providerId="ADAL" clId="{F17CDA02-90FA-4D24-97F8-535DD3CEBAF4}" dt="2019-06-23T19:59:35.926" v="9634" actId="1440"/>
          <ac:picMkLst>
            <pc:docMk/>
            <pc:sldMk cId="3216849566" sldId="266"/>
            <ac:picMk id="12" creationId="{E4B436B6-4E88-45A1-90CE-3BC0F8871F06}"/>
          </ac:picMkLst>
        </pc:picChg>
        <pc:picChg chg="del">
          <ac:chgData name="Thomas Stensitzki" userId="75cafe6b-2f2a-469b-85c4-eec3b9c972ba" providerId="ADAL" clId="{F17CDA02-90FA-4D24-97F8-535DD3CEBAF4}" dt="2019-06-22T09:09:16.458" v="216" actId="478"/>
          <ac:picMkLst>
            <pc:docMk/>
            <pc:sldMk cId="3216849566" sldId="266"/>
            <ac:picMk id="16" creationId="{CC41B3A1-0F4B-445E-9982-F313EEE9BE05}"/>
          </ac:picMkLst>
        </pc:picChg>
        <pc:picChg chg="del">
          <ac:chgData name="Thomas Stensitzki" userId="75cafe6b-2f2a-469b-85c4-eec3b9c972ba" providerId="ADAL" clId="{F17CDA02-90FA-4D24-97F8-535DD3CEBAF4}" dt="2019-06-22T09:09:16.458" v="216" actId="478"/>
          <ac:picMkLst>
            <pc:docMk/>
            <pc:sldMk cId="3216849566" sldId="266"/>
            <ac:picMk id="17" creationId="{73FDB7A6-1B1E-4B64-90E6-ACFF2C1D09B6}"/>
          </ac:picMkLst>
        </pc:picChg>
      </pc:sldChg>
      <pc:sldChg chg="addSp delSp modSp add ord modAnim">
        <pc:chgData name="Thomas Stensitzki" userId="75cafe6b-2f2a-469b-85c4-eec3b9c972ba" providerId="ADAL" clId="{F17CDA02-90FA-4D24-97F8-535DD3CEBAF4}" dt="2019-06-23T20:00:31.312" v="9636" actId="14100"/>
        <pc:sldMkLst>
          <pc:docMk/>
          <pc:sldMk cId="2725219735" sldId="267"/>
        </pc:sldMkLst>
        <pc:spChg chg="mod">
          <ac:chgData name="Thomas Stensitzki" userId="75cafe6b-2f2a-469b-85c4-eec3b9c972ba" providerId="ADAL" clId="{F17CDA02-90FA-4D24-97F8-535DD3CEBAF4}" dt="2019-06-22T10:39:07.912" v="2525" actId="114"/>
          <ac:spMkLst>
            <pc:docMk/>
            <pc:sldMk cId="2725219735" sldId="267"/>
            <ac:spMk id="2" creationId="{00000000-0000-0000-0000-000000000000}"/>
          </ac:spMkLst>
        </pc:spChg>
        <pc:spChg chg="del">
          <ac:chgData name="Thomas Stensitzki" userId="75cafe6b-2f2a-469b-85c4-eec3b9c972ba" providerId="ADAL" clId="{F17CDA02-90FA-4D24-97F8-535DD3CEBAF4}" dt="2019-06-22T09:13:55.735" v="367" actId="478"/>
          <ac:spMkLst>
            <pc:docMk/>
            <pc:sldMk cId="2725219735" sldId="267"/>
            <ac:spMk id="8" creationId="{7C08ABE5-F255-4657-9558-C1FEBA17B443}"/>
          </ac:spMkLst>
        </pc:spChg>
        <pc:spChg chg="add mod">
          <ac:chgData name="Thomas Stensitzki" userId="75cafe6b-2f2a-469b-85c4-eec3b9c972ba" providerId="ADAL" clId="{F17CDA02-90FA-4D24-97F8-535DD3CEBAF4}" dt="2019-06-22T09:20:32.750" v="701" actId="164"/>
          <ac:spMkLst>
            <pc:docMk/>
            <pc:sldMk cId="2725219735" sldId="267"/>
            <ac:spMk id="11" creationId="{C9BA62DD-0CA9-417A-8980-E34D869CDF30}"/>
          </ac:spMkLst>
        </pc:spChg>
        <pc:spChg chg="add mod">
          <ac:chgData name="Thomas Stensitzki" userId="75cafe6b-2f2a-469b-85c4-eec3b9c972ba" providerId="ADAL" clId="{F17CDA02-90FA-4D24-97F8-535DD3CEBAF4}" dt="2019-06-22T09:20:26.312" v="700" actId="164"/>
          <ac:spMkLst>
            <pc:docMk/>
            <pc:sldMk cId="2725219735" sldId="267"/>
            <ac:spMk id="12" creationId="{0A3D94C1-1A88-40EC-BE50-C1CE82B134C3}"/>
          </ac:spMkLst>
        </pc:spChg>
        <pc:spChg chg="add mod">
          <ac:chgData name="Thomas Stensitzki" userId="75cafe6b-2f2a-469b-85c4-eec3b9c972ba" providerId="ADAL" clId="{F17CDA02-90FA-4D24-97F8-535DD3CEBAF4}" dt="2019-06-22T09:20:19.883" v="699" actId="164"/>
          <ac:spMkLst>
            <pc:docMk/>
            <pc:sldMk cId="2725219735" sldId="267"/>
            <ac:spMk id="14" creationId="{6A1FD102-9F44-4E54-8F34-3FD529700554}"/>
          </ac:spMkLst>
        </pc:spChg>
        <pc:spChg chg="add mod">
          <ac:chgData name="Thomas Stensitzki" userId="75cafe6b-2f2a-469b-85c4-eec3b9c972ba" providerId="ADAL" clId="{F17CDA02-90FA-4D24-97F8-535DD3CEBAF4}" dt="2019-06-22T09:20:26.312" v="700" actId="164"/>
          <ac:spMkLst>
            <pc:docMk/>
            <pc:sldMk cId="2725219735" sldId="267"/>
            <ac:spMk id="16" creationId="{E65B42D3-348D-40AF-82E6-A5A6B637EAD9}"/>
          </ac:spMkLst>
        </pc:spChg>
        <pc:spChg chg="add mod">
          <ac:chgData name="Thomas Stensitzki" userId="75cafe6b-2f2a-469b-85c4-eec3b9c972ba" providerId="ADAL" clId="{F17CDA02-90FA-4D24-97F8-535DD3CEBAF4}" dt="2019-06-22T09:20:19.883" v="699" actId="164"/>
          <ac:spMkLst>
            <pc:docMk/>
            <pc:sldMk cId="2725219735" sldId="267"/>
            <ac:spMk id="17" creationId="{A9952AF9-1CCE-4FBA-A972-A36A76DB487B}"/>
          </ac:spMkLst>
        </pc:spChg>
        <pc:spChg chg="add mod">
          <ac:chgData name="Thomas Stensitzki" userId="75cafe6b-2f2a-469b-85c4-eec3b9c972ba" providerId="ADAL" clId="{F17CDA02-90FA-4D24-97F8-535DD3CEBAF4}" dt="2019-06-22T09:20:26.312" v="700" actId="164"/>
          <ac:spMkLst>
            <pc:docMk/>
            <pc:sldMk cId="2725219735" sldId="267"/>
            <ac:spMk id="18" creationId="{DF24A1D5-6582-4E8B-838F-3940AC184B8F}"/>
          </ac:spMkLst>
        </pc:spChg>
        <pc:spChg chg="add mod">
          <ac:chgData name="Thomas Stensitzki" userId="75cafe6b-2f2a-469b-85c4-eec3b9c972ba" providerId="ADAL" clId="{F17CDA02-90FA-4D24-97F8-535DD3CEBAF4}" dt="2019-06-23T20:00:28.081" v="9635" actId="14100"/>
          <ac:spMkLst>
            <pc:docMk/>
            <pc:sldMk cId="2725219735" sldId="267"/>
            <ac:spMk id="19" creationId="{963B3076-3364-4A9E-862B-BF9A87BE588D}"/>
          </ac:spMkLst>
        </pc:spChg>
        <pc:spChg chg="add mod">
          <ac:chgData name="Thomas Stensitzki" userId="75cafe6b-2f2a-469b-85c4-eec3b9c972ba" providerId="ADAL" clId="{F17CDA02-90FA-4D24-97F8-535DD3CEBAF4}" dt="2019-06-22T09:20:32.750" v="701" actId="164"/>
          <ac:spMkLst>
            <pc:docMk/>
            <pc:sldMk cId="2725219735" sldId="267"/>
            <ac:spMk id="20" creationId="{E4329D53-EE88-4545-A97C-A616A885D706}"/>
          </ac:spMkLst>
        </pc:spChg>
        <pc:spChg chg="add mod">
          <ac:chgData name="Thomas Stensitzki" userId="75cafe6b-2f2a-469b-85c4-eec3b9c972ba" providerId="ADAL" clId="{F17CDA02-90FA-4D24-97F8-535DD3CEBAF4}" dt="2019-06-22T09:20:19.883" v="699" actId="164"/>
          <ac:spMkLst>
            <pc:docMk/>
            <pc:sldMk cId="2725219735" sldId="267"/>
            <ac:spMk id="21" creationId="{841B7DC1-3C56-43E9-A877-30A3B834C8A6}"/>
          </ac:spMkLst>
        </pc:spChg>
        <pc:spChg chg="add mod">
          <ac:chgData name="Thomas Stensitzki" userId="75cafe6b-2f2a-469b-85c4-eec3b9c972ba" providerId="ADAL" clId="{F17CDA02-90FA-4D24-97F8-535DD3CEBAF4}" dt="2019-06-22T09:20:52.239" v="702" actId="164"/>
          <ac:spMkLst>
            <pc:docMk/>
            <pc:sldMk cId="2725219735" sldId="267"/>
            <ac:spMk id="22" creationId="{491B2AFE-8721-498A-890E-7A1C41FB056B}"/>
          </ac:spMkLst>
        </pc:spChg>
        <pc:spChg chg="add mod">
          <ac:chgData name="Thomas Stensitzki" userId="75cafe6b-2f2a-469b-85c4-eec3b9c972ba" providerId="ADAL" clId="{F17CDA02-90FA-4D24-97F8-535DD3CEBAF4}" dt="2019-06-22T09:20:52.239" v="702" actId="164"/>
          <ac:spMkLst>
            <pc:docMk/>
            <pc:sldMk cId="2725219735" sldId="267"/>
            <ac:spMk id="23" creationId="{2AD1F71E-B3D0-4382-8F10-868A90C18D7F}"/>
          </ac:spMkLst>
        </pc:spChg>
        <pc:spChg chg="add mod">
          <ac:chgData name="Thomas Stensitzki" userId="75cafe6b-2f2a-469b-85c4-eec3b9c972ba" providerId="ADAL" clId="{F17CDA02-90FA-4D24-97F8-535DD3CEBAF4}" dt="2019-06-23T20:00:31.312" v="9636" actId="14100"/>
          <ac:spMkLst>
            <pc:docMk/>
            <pc:sldMk cId="2725219735" sldId="267"/>
            <ac:spMk id="24" creationId="{ECFE8390-2E08-43FF-A61F-93401908AED6}"/>
          </ac:spMkLst>
        </pc:spChg>
        <pc:grpChg chg="add mod">
          <ac:chgData name="Thomas Stensitzki" userId="75cafe6b-2f2a-469b-85c4-eec3b9c972ba" providerId="ADAL" clId="{F17CDA02-90FA-4D24-97F8-535DD3CEBAF4}" dt="2019-06-22T09:20:19.883" v="699" actId="164"/>
          <ac:grpSpMkLst>
            <pc:docMk/>
            <pc:sldMk cId="2725219735" sldId="267"/>
            <ac:grpSpMk id="3" creationId="{E2C84333-7398-41EB-838F-6CAE8ABE44BF}"/>
          </ac:grpSpMkLst>
        </pc:grpChg>
        <pc:grpChg chg="add mod">
          <ac:chgData name="Thomas Stensitzki" userId="75cafe6b-2f2a-469b-85c4-eec3b9c972ba" providerId="ADAL" clId="{F17CDA02-90FA-4D24-97F8-535DD3CEBAF4}" dt="2019-06-22T09:20:26.312" v="700" actId="164"/>
          <ac:grpSpMkLst>
            <pc:docMk/>
            <pc:sldMk cId="2725219735" sldId="267"/>
            <ac:grpSpMk id="7" creationId="{5A1E4624-4736-4F0E-B620-7F11E8F3BADB}"/>
          </ac:grpSpMkLst>
        </pc:grpChg>
        <pc:grpChg chg="add mod">
          <ac:chgData name="Thomas Stensitzki" userId="75cafe6b-2f2a-469b-85c4-eec3b9c972ba" providerId="ADAL" clId="{F17CDA02-90FA-4D24-97F8-535DD3CEBAF4}" dt="2019-06-22T09:20:32.750" v="701" actId="164"/>
          <ac:grpSpMkLst>
            <pc:docMk/>
            <pc:sldMk cId="2725219735" sldId="267"/>
            <ac:grpSpMk id="9" creationId="{65951CDD-D78F-4E23-BF6D-2B2D6B2241CB}"/>
          </ac:grpSpMkLst>
        </pc:grpChg>
        <pc:grpChg chg="add mod">
          <ac:chgData name="Thomas Stensitzki" userId="75cafe6b-2f2a-469b-85c4-eec3b9c972ba" providerId="ADAL" clId="{F17CDA02-90FA-4D24-97F8-535DD3CEBAF4}" dt="2019-06-22T09:20:52.239" v="702" actId="164"/>
          <ac:grpSpMkLst>
            <pc:docMk/>
            <pc:sldMk cId="2725219735" sldId="267"/>
            <ac:grpSpMk id="25" creationId="{B6F2E0E3-1DDF-4115-89AF-54FC65A8B2AC}"/>
          </ac:grpSpMkLst>
        </pc:grpChg>
      </pc:sldChg>
      <pc:sldChg chg="delSp modSp add ord">
        <pc:chgData name="Thomas Stensitzki" userId="75cafe6b-2f2a-469b-85c4-eec3b9c972ba" providerId="ADAL" clId="{F17CDA02-90FA-4D24-97F8-535DD3CEBAF4}" dt="2019-06-23T19:30:43.145" v="8853" actId="20578"/>
        <pc:sldMkLst>
          <pc:docMk/>
          <pc:sldMk cId="3983281976" sldId="268"/>
        </pc:sldMkLst>
        <pc:spChg chg="mod">
          <ac:chgData name="Thomas Stensitzki" userId="75cafe6b-2f2a-469b-85c4-eec3b9c972ba" providerId="ADAL" clId="{F17CDA02-90FA-4D24-97F8-535DD3CEBAF4}" dt="2019-06-23T19:30:43.145" v="8853" actId="20578"/>
          <ac:spMkLst>
            <pc:docMk/>
            <pc:sldMk cId="3983281976" sldId="268"/>
            <ac:spMk id="2" creationId="{00000000-0000-0000-0000-000000000000}"/>
          </ac:spMkLst>
        </pc:spChg>
        <pc:spChg chg="del">
          <ac:chgData name="Thomas Stensitzki" userId="75cafe6b-2f2a-469b-85c4-eec3b9c972ba" providerId="ADAL" clId="{F17CDA02-90FA-4D24-97F8-535DD3CEBAF4}" dt="2019-06-22T14:44:11.356" v="2939" actId="478"/>
          <ac:spMkLst>
            <pc:docMk/>
            <pc:sldMk cId="3983281976" sldId="268"/>
            <ac:spMk id="8" creationId="{7C08ABE5-F255-4657-9558-C1FEBA17B443}"/>
          </ac:spMkLst>
        </pc:spChg>
      </pc:sldChg>
      <pc:sldChg chg="addSp delSp modSp add modAnim">
        <pc:chgData name="Thomas Stensitzki" userId="75cafe6b-2f2a-469b-85c4-eec3b9c972ba" providerId="ADAL" clId="{F17CDA02-90FA-4D24-97F8-535DD3CEBAF4}" dt="2019-06-22T10:38:57.630" v="2522" actId="6549"/>
        <pc:sldMkLst>
          <pc:docMk/>
          <pc:sldMk cId="1363772492" sldId="269"/>
        </pc:sldMkLst>
        <pc:spChg chg="mod">
          <ac:chgData name="Thomas Stensitzki" userId="75cafe6b-2f2a-469b-85c4-eec3b9c972ba" providerId="ADAL" clId="{F17CDA02-90FA-4D24-97F8-535DD3CEBAF4}" dt="2019-06-22T10:38:57.630" v="2522" actId="6549"/>
          <ac:spMkLst>
            <pc:docMk/>
            <pc:sldMk cId="1363772492" sldId="269"/>
            <ac:spMk id="14" creationId="{F2CD2A51-0F8F-4617-BD22-C4A2B0C6256C}"/>
          </ac:spMkLst>
        </pc:spChg>
        <pc:spChg chg="mod topLvl">
          <ac:chgData name="Thomas Stensitzki" userId="75cafe6b-2f2a-469b-85c4-eec3b9c972ba" providerId="ADAL" clId="{F17CDA02-90FA-4D24-97F8-535DD3CEBAF4}" dt="2019-06-22T09:58:41.698" v="1071" actId="164"/>
          <ac:spMkLst>
            <pc:docMk/>
            <pc:sldMk cId="1363772492" sldId="269"/>
            <ac:spMk id="16" creationId="{2C82246E-AC26-4251-A476-A2371A115D93}"/>
          </ac:spMkLst>
        </pc:spChg>
        <pc:spChg chg="mod topLvl">
          <ac:chgData name="Thomas Stensitzki" userId="75cafe6b-2f2a-469b-85c4-eec3b9c972ba" providerId="ADAL" clId="{F17CDA02-90FA-4D24-97F8-535DD3CEBAF4}" dt="2019-06-22T09:57:29.172" v="1012" actId="164"/>
          <ac:spMkLst>
            <pc:docMk/>
            <pc:sldMk cId="1363772492" sldId="269"/>
            <ac:spMk id="17" creationId="{A4D7492F-88E8-4E3E-84CC-9222C6F44A0E}"/>
          </ac:spMkLst>
        </pc:spChg>
        <pc:spChg chg="mod topLvl">
          <ac:chgData name="Thomas Stensitzki" userId="75cafe6b-2f2a-469b-85c4-eec3b9c972ba" providerId="ADAL" clId="{F17CDA02-90FA-4D24-97F8-535DD3CEBAF4}" dt="2019-06-22T09:55:09.100" v="961" actId="164"/>
          <ac:spMkLst>
            <pc:docMk/>
            <pc:sldMk cId="1363772492" sldId="269"/>
            <ac:spMk id="18" creationId="{24802968-4129-42A4-A9C3-F974E1B04D20}"/>
          </ac:spMkLst>
        </pc:spChg>
        <pc:spChg chg="mod topLvl">
          <ac:chgData name="Thomas Stensitzki" userId="75cafe6b-2f2a-469b-85c4-eec3b9c972ba" providerId="ADAL" clId="{F17CDA02-90FA-4D24-97F8-535DD3CEBAF4}" dt="2019-06-22T09:57:29.172" v="1012" actId="164"/>
          <ac:spMkLst>
            <pc:docMk/>
            <pc:sldMk cId="1363772492" sldId="269"/>
            <ac:spMk id="19" creationId="{79F400B7-00A6-454B-B2E9-1C3902333CE8}"/>
          </ac:spMkLst>
        </pc:spChg>
        <pc:spChg chg="mod topLvl">
          <ac:chgData name="Thomas Stensitzki" userId="75cafe6b-2f2a-469b-85c4-eec3b9c972ba" providerId="ADAL" clId="{F17CDA02-90FA-4D24-97F8-535DD3CEBAF4}" dt="2019-06-22T09:55:09.100" v="961" actId="164"/>
          <ac:spMkLst>
            <pc:docMk/>
            <pc:sldMk cId="1363772492" sldId="269"/>
            <ac:spMk id="20" creationId="{645112B8-4769-47E7-B7C7-B78FFF461626}"/>
          </ac:spMkLst>
        </pc:spChg>
        <pc:spChg chg="mod topLvl">
          <ac:chgData name="Thomas Stensitzki" userId="75cafe6b-2f2a-469b-85c4-eec3b9c972ba" providerId="ADAL" clId="{F17CDA02-90FA-4D24-97F8-535DD3CEBAF4}" dt="2019-06-22T09:57:29.172" v="1012" actId="164"/>
          <ac:spMkLst>
            <pc:docMk/>
            <pc:sldMk cId="1363772492" sldId="269"/>
            <ac:spMk id="21" creationId="{927DF210-7557-4D21-B24E-82B56D8BA5E7}"/>
          </ac:spMkLst>
        </pc:spChg>
        <pc:spChg chg="mod topLvl">
          <ac:chgData name="Thomas Stensitzki" userId="75cafe6b-2f2a-469b-85c4-eec3b9c972ba" providerId="ADAL" clId="{F17CDA02-90FA-4D24-97F8-535DD3CEBAF4}" dt="2019-06-22T09:59:25.131" v="1076" actId="14100"/>
          <ac:spMkLst>
            <pc:docMk/>
            <pc:sldMk cId="1363772492" sldId="269"/>
            <ac:spMk id="22" creationId="{605907F2-4D74-4FD9-AF62-4C55A573C63A}"/>
          </ac:spMkLst>
        </pc:spChg>
        <pc:spChg chg="mod topLvl">
          <ac:chgData name="Thomas Stensitzki" userId="75cafe6b-2f2a-469b-85c4-eec3b9c972ba" providerId="ADAL" clId="{F17CDA02-90FA-4D24-97F8-535DD3CEBAF4}" dt="2019-06-22T09:58:41.698" v="1071" actId="164"/>
          <ac:spMkLst>
            <pc:docMk/>
            <pc:sldMk cId="1363772492" sldId="269"/>
            <ac:spMk id="23" creationId="{849D2028-6EF0-4E96-B769-238D0753A1FE}"/>
          </ac:spMkLst>
        </pc:spChg>
        <pc:spChg chg="mod topLvl">
          <ac:chgData name="Thomas Stensitzki" userId="75cafe6b-2f2a-469b-85c4-eec3b9c972ba" providerId="ADAL" clId="{F17CDA02-90FA-4D24-97F8-535DD3CEBAF4}" dt="2019-06-22T09:55:09.100" v="961" actId="164"/>
          <ac:spMkLst>
            <pc:docMk/>
            <pc:sldMk cId="1363772492" sldId="269"/>
            <ac:spMk id="24" creationId="{83A33767-7C79-47B5-8798-5A75236F4CC9}"/>
          </ac:spMkLst>
        </pc:spChg>
        <pc:grpChg chg="add mod">
          <ac:chgData name="Thomas Stensitzki" userId="75cafe6b-2f2a-469b-85c4-eec3b9c972ba" providerId="ADAL" clId="{F17CDA02-90FA-4D24-97F8-535DD3CEBAF4}" dt="2019-06-22T09:59:06.793" v="1074" actId="465"/>
          <ac:grpSpMkLst>
            <pc:docMk/>
            <pc:sldMk cId="1363772492" sldId="269"/>
            <ac:grpSpMk id="3" creationId="{7327FD88-4043-425C-9015-59D025C20E03}"/>
          </ac:grpSpMkLst>
        </pc:grpChg>
        <pc:grpChg chg="add mod">
          <ac:chgData name="Thomas Stensitzki" userId="75cafe6b-2f2a-469b-85c4-eec3b9c972ba" providerId="ADAL" clId="{F17CDA02-90FA-4D24-97F8-535DD3CEBAF4}" dt="2019-06-22T09:59:06.793" v="1074" actId="465"/>
          <ac:grpSpMkLst>
            <pc:docMk/>
            <pc:sldMk cId="1363772492" sldId="269"/>
            <ac:grpSpMk id="7" creationId="{2F160A99-7989-4A57-8DB5-9B807AD8FBFA}"/>
          </ac:grpSpMkLst>
        </pc:grpChg>
        <pc:grpChg chg="add mod">
          <ac:chgData name="Thomas Stensitzki" userId="75cafe6b-2f2a-469b-85c4-eec3b9c972ba" providerId="ADAL" clId="{F17CDA02-90FA-4D24-97F8-535DD3CEBAF4}" dt="2019-06-22T09:59:20.435" v="1075" actId="1076"/>
          <ac:grpSpMkLst>
            <pc:docMk/>
            <pc:sldMk cId="1363772492" sldId="269"/>
            <ac:grpSpMk id="8" creationId="{6DE27620-F891-4A68-AFE1-3D271A6F5F43}"/>
          </ac:grpSpMkLst>
        </pc:grpChg>
        <pc:grpChg chg="del mod">
          <ac:chgData name="Thomas Stensitzki" userId="75cafe6b-2f2a-469b-85c4-eec3b9c972ba" providerId="ADAL" clId="{F17CDA02-90FA-4D24-97F8-535DD3CEBAF4}" dt="2019-06-22T09:54:42.132" v="957" actId="165"/>
          <ac:grpSpMkLst>
            <pc:docMk/>
            <pc:sldMk cId="1363772492" sldId="269"/>
            <ac:grpSpMk id="10" creationId="{E62180DF-9859-4D19-8D38-017F0426ADC8}"/>
          </ac:grpSpMkLst>
        </pc:grpChg>
        <pc:grpChg chg="del">
          <ac:chgData name="Thomas Stensitzki" userId="75cafe6b-2f2a-469b-85c4-eec3b9c972ba" providerId="ADAL" clId="{F17CDA02-90FA-4D24-97F8-535DD3CEBAF4}" dt="2019-06-22T09:55:26.342" v="962" actId="165"/>
          <ac:grpSpMkLst>
            <pc:docMk/>
            <pc:sldMk cId="1363772492" sldId="269"/>
            <ac:grpSpMk id="25" creationId="{5820FD9F-C7E2-49C3-98F8-1F1508B9A608}"/>
          </ac:grpSpMkLst>
        </pc:grpChg>
        <pc:grpChg chg="del">
          <ac:chgData name="Thomas Stensitzki" userId="75cafe6b-2f2a-469b-85c4-eec3b9c972ba" providerId="ADAL" clId="{F17CDA02-90FA-4D24-97F8-535DD3CEBAF4}" dt="2019-06-22T09:57:49.503" v="1013" actId="165"/>
          <ac:grpSpMkLst>
            <pc:docMk/>
            <pc:sldMk cId="1363772492" sldId="269"/>
            <ac:grpSpMk id="26" creationId="{6612D731-F396-42C6-B8B4-BFEF3244B441}"/>
          </ac:grpSpMkLst>
        </pc:grpChg>
        <pc:picChg chg="add mod">
          <ac:chgData name="Thomas Stensitzki" userId="75cafe6b-2f2a-469b-85c4-eec3b9c972ba" providerId="ADAL" clId="{F17CDA02-90FA-4D24-97F8-535DD3CEBAF4}" dt="2019-06-22T09:53:45.159" v="926" actId="1440"/>
          <ac:picMkLst>
            <pc:docMk/>
            <pc:sldMk cId="1363772492" sldId="269"/>
            <ac:picMk id="2" creationId="{25E45A96-4729-4855-AAC3-32E641A2F329}"/>
          </ac:picMkLst>
        </pc:picChg>
        <pc:picChg chg="del">
          <ac:chgData name="Thomas Stensitzki" userId="75cafe6b-2f2a-469b-85c4-eec3b9c972ba" providerId="ADAL" clId="{F17CDA02-90FA-4D24-97F8-535DD3CEBAF4}" dt="2019-06-22T09:32:25.355" v="917" actId="478"/>
          <ac:picMkLst>
            <pc:docMk/>
            <pc:sldMk cId="1363772492" sldId="269"/>
            <ac:picMk id="11" creationId="{5D20DFC2-CAB0-4DCD-94BD-CBCFB836B235}"/>
          </ac:picMkLst>
        </pc:picChg>
        <pc:picChg chg="add del mod">
          <ac:chgData name="Thomas Stensitzki" userId="75cafe6b-2f2a-469b-85c4-eec3b9c972ba" providerId="ADAL" clId="{F17CDA02-90FA-4D24-97F8-535DD3CEBAF4}" dt="2019-06-22T09:53:16.219" v="923" actId="478"/>
          <ac:picMkLst>
            <pc:docMk/>
            <pc:sldMk cId="1363772492" sldId="269"/>
            <ac:picMk id="27" creationId="{E157FA84-EF03-45AB-99DF-D4FB649B5FA4}"/>
          </ac:picMkLst>
        </pc:picChg>
      </pc:sldChg>
      <pc:sldChg chg="addSp delSp modSp add delAnim modAnim">
        <pc:chgData name="Thomas Stensitzki" userId="75cafe6b-2f2a-469b-85c4-eec3b9c972ba" providerId="ADAL" clId="{F17CDA02-90FA-4D24-97F8-535DD3CEBAF4}" dt="2019-06-23T20:12:38.946" v="9668"/>
        <pc:sldMkLst>
          <pc:docMk/>
          <pc:sldMk cId="3358201404" sldId="270"/>
        </pc:sldMkLst>
        <pc:spChg chg="mod">
          <ac:chgData name="Thomas Stensitzki" userId="75cafe6b-2f2a-469b-85c4-eec3b9c972ba" providerId="ADAL" clId="{F17CDA02-90FA-4D24-97F8-535DD3CEBAF4}" dt="2019-06-22T10:38:20.081" v="2483" actId="114"/>
          <ac:spMkLst>
            <pc:docMk/>
            <pc:sldMk cId="3358201404" sldId="270"/>
            <ac:spMk id="14" creationId="{F2CD2A51-0F8F-4617-BD22-C4A2B0C6256C}"/>
          </ac:spMkLst>
        </pc:spChg>
        <pc:grpChg chg="del">
          <ac:chgData name="Thomas Stensitzki" userId="75cafe6b-2f2a-469b-85c4-eec3b9c972ba" providerId="ADAL" clId="{F17CDA02-90FA-4D24-97F8-535DD3CEBAF4}" dt="2019-06-22T10:01:03.549" v="1102" actId="478"/>
          <ac:grpSpMkLst>
            <pc:docMk/>
            <pc:sldMk cId="3358201404" sldId="270"/>
            <ac:grpSpMk id="3" creationId="{7327FD88-4043-425C-9015-59D025C20E03}"/>
          </ac:grpSpMkLst>
        </pc:grpChg>
        <pc:grpChg chg="del">
          <ac:chgData name="Thomas Stensitzki" userId="75cafe6b-2f2a-469b-85c4-eec3b9c972ba" providerId="ADAL" clId="{F17CDA02-90FA-4D24-97F8-535DD3CEBAF4}" dt="2019-06-22T10:01:03.549" v="1102" actId="478"/>
          <ac:grpSpMkLst>
            <pc:docMk/>
            <pc:sldMk cId="3358201404" sldId="270"/>
            <ac:grpSpMk id="7" creationId="{2F160A99-7989-4A57-8DB5-9B807AD8FBFA}"/>
          </ac:grpSpMkLst>
        </pc:grpChg>
        <pc:grpChg chg="del">
          <ac:chgData name="Thomas Stensitzki" userId="75cafe6b-2f2a-469b-85c4-eec3b9c972ba" providerId="ADAL" clId="{F17CDA02-90FA-4D24-97F8-535DD3CEBAF4}" dt="2019-06-22T10:01:03.549" v="1102" actId="478"/>
          <ac:grpSpMkLst>
            <pc:docMk/>
            <pc:sldMk cId="3358201404" sldId="270"/>
            <ac:grpSpMk id="8" creationId="{6DE27620-F891-4A68-AFE1-3D271A6F5F43}"/>
          </ac:grpSpMkLst>
        </pc:grpChg>
        <pc:picChg chg="del">
          <ac:chgData name="Thomas Stensitzki" userId="75cafe6b-2f2a-469b-85c4-eec3b9c972ba" providerId="ADAL" clId="{F17CDA02-90FA-4D24-97F8-535DD3CEBAF4}" dt="2019-06-22T10:01:03.549" v="1102" actId="478"/>
          <ac:picMkLst>
            <pc:docMk/>
            <pc:sldMk cId="3358201404" sldId="270"/>
            <ac:picMk id="2" creationId="{25E45A96-4729-4855-AAC3-32E641A2F329}"/>
          </ac:picMkLst>
        </pc:picChg>
        <pc:picChg chg="add mod">
          <ac:chgData name="Thomas Stensitzki" userId="75cafe6b-2f2a-469b-85c4-eec3b9c972ba" providerId="ADAL" clId="{F17CDA02-90FA-4D24-97F8-535DD3CEBAF4}" dt="2019-06-22T10:02:01.833" v="1112" actId="1440"/>
          <ac:picMkLst>
            <pc:docMk/>
            <pc:sldMk cId="3358201404" sldId="270"/>
            <ac:picMk id="25" creationId="{8F06ECB4-087E-4A92-B517-18D1E238B822}"/>
          </ac:picMkLst>
        </pc:picChg>
        <pc:picChg chg="add mod">
          <ac:chgData name="Thomas Stensitzki" userId="75cafe6b-2f2a-469b-85c4-eec3b9c972ba" providerId="ADAL" clId="{F17CDA02-90FA-4D24-97F8-535DD3CEBAF4}" dt="2019-06-22T10:02:05.437" v="1113" actId="1440"/>
          <ac:picMkLst>
            <pc:docMk/>
            <pc:sldMk cId="3358201404" sldId="270"/>
            <ac:picMk id="26" creationId="{7BD57EE2-05C6-416C-B8C1-974B74F2AD1B}"/>
          </ac:picMkLst>
        </pc:picChg>
        <pc:picChg chg="add mod">
          <ac:chgData name="Thomas Stensitzki" userId="75cafe6b-2f2a-469b-85c4-eec3b9c972ba" providerId="ADAL" clId="{F17CDA02-90FA-4D24-97F8-535DD3CEBAF4}" dt="2019-06-22T10:02:08.115" v="1114" actId="1440"/>
          <ac:picMkLst>
            <pc:docMk/>
            <pc:sldMk cId="3358201404" sldId="270"/>
            <ac:picMk id="27" creationId="{41303BB4-9E86-4FFF-9CE1-E93ED97BE774}"/>
          </ac:picMkLst>
        </pc:picChg>
        <pc:picChg chg="add mod">
          <ac:chgData name="Thomas Stensitzki" userId="75cafe6b-2f2a-469b-85c4-eec3b9c972ba" providerId="ADAL" clId="{F17CDA02-90FA-4D24-97F8-535DD3CEBAF4}" dt="2019-06-22T10:02:09.198" v="1115" actId="1440"/>
          <ac:picMkLst>
            <pc:docMk/>
            <pc:sldMk cId="3358201404" sldId="270"/>
            <ac:picMk id="28" creationId="{81632187-CF19-4D90-AB01-CDAAC9472B38}"/>
          </ac:picMkLst>
        </pc:picChg>
        <pc:picChg chg="add mod">
          <ac:chgData name="Thomas Stensitzki" userId="75cafe6b-2f2a-469b-85c4-eec3b9c972ba" providerId="ADAL" clId="{F17CDA02-90FA-4D24-97F8-535DD3CEBAF4}" dt="2019-06-22T10:02:10.359" v="1116" actId="1440"/>
          <ac:picMkLst>
            <pc:docMk/>
            <pc:sldMk cId="3358201404" sldId="270"/>
            <ac:picMk id="29" creationId="{440B3584-95AB-408A-A36E-0031142A04B5}"/>
          </ac:picMkLst>
        </pc:picChg>
      </pc:sldChg>
      <pc:sldChg chg="delSp modSp add ord">
        <pc:chgData name="Thomas Stensitzki" userId="75cafe6b-2f2a-469b-85c4-eec3b9c972ba" providerId="ADAL" clId="{F17CDA02-90FA-4D24-97F8-535DD3CEBAF4}" dt="2019-06-22T14:44:05.372" v="2938" actId="478"/>
        <pc:sldMkLst>
          <pc:docMk/>
          <pc:sldMk cId="3904506551" sldId="271"/>
        </pc:sldMkLst>
        <pc:spChg chg="mod">
          <ac:chgData name="Thomas Stensitzki" userId="75cafe6b-2f2a-469b-85c4-eec3b9c972ba" providerId="ADAL" clId="{F17CDA02-90FA-4D24-97F8-535DD3CEBAF4}" dt="2019-06-22T10:19:18.231" v="1124" actId="20577"/>
          <ac:spMkLst>
            <pc:docMk/>
            <pc:sldMk cId="3904506551" sldId="271"/>
            <ac:spMk id="2" creationId="{00000000-0000-0000-0000-000000000000}"/>
          </ac:spMkLst>
        </pc:spChg>
        <pc:spChg chg="del">
          <ac:chgData name="Thomas Stensitzki" userId="75cafe6b-2f2a-469b-85c4-eec3b9c972ba" providerId="ADAL" clId="{F17CDA02-90FA-4D24-97F8-535DD3CEBAF4}" dt="2019-06-22T14:44:05.372" v="2938" actId="478"/>
          <ac:spMkLst>
            <pc:docMk/>
            <pc:sldMk cId="3904506551" sldId="271"/>
            <ac:spMk id="8" creationId="{7C08ABE5-F255-4657-9558-C1FEBA17B443}"/>
          </ac:spMkLst>
        </pc:spChg>
      </pc:sldChg>
      <pc:sldChg chg="addSp delSp modSp add ord delAnim modAnim">
        <pc:chgData name="Thomas Stensitzki" userId="75cafe6b-2f2a-469b-85c4-eec3b9c972ba" providerId="ADAL" clId="{F17CDA02-90FA-4D24-97F8-535DD3CEBAF4}" dt="2019-06-23T20:13:29.348" v="9673" actId="20577"/>
        <pc:sldMkLst>
          <pc:docMk/>
          <pc:sldMk cId="4181409217" sldId="272"/>
        </pc:sldMkLst>
        <pc:spChg chg="mod">
          <ac:chgData name="Thomas Stensitzki" userId="75cafe6b-2f2a-469b-85c4-eec3b9c972ba" providerId="ADAL" clId="{F17CDA02-90FA-4D24-97F8-535DD3CEBAF4}" dt="2019-06-22T10:38:11.092" v="2482" actId="114"/>
          <ac:spMkLst>
            <pc:docMk/>
            <pc:sldMk cId="4181409217" sldId="272"/>
            <ac:spMk id="14" creationId="{F2CD2A51-0F8F-4617-BD22-C4A2B0C6256C}"/>
          </ac:spMkLst>
        </pc:spChg>
        <pc:spChg chg="add mod">
          <ac:chgData name="Thomas Stensitzki" userId="75cafe6b-2f2a-469b-85c4-eec3b9c972ba" providerId="ADAL" clId="{F17CDA02-90FA-4D24-97F8-535DD3CEBAF4}" dt="2019-06-22T10:32:16.316" v="2056" actId="2711"/>
          <ac:spMkLst>
            <pc:docMk/>
            <pc:sldMk cId="4181409217" sldId="272"/>
            <ac:spMk id="18" creationId="{CCB0D80B-4EA9-411A-9531-CD41D34DFCCF}"/>
          </ac:spMkLst>
        </pc:spChg>
        <pc:spChg chg="add del mod">
          <ac:chgData name="Thomas Stensitzki" userId="75cafe6b-2f2a-469b-85c4-eec3b9c972ba" providerId="ADAL" clId="{F17CDA02-90FA-4D24-97F8-535DD3CEBAF4}" dt="2019-06-23T19:51:35.784" v="9507" actId="478"/>
          <ac:spMkLst>
            <pc:docMk/>
            <pc:sldMk cId="4181409217" sldId="272"/>
            <ac:spMk id="22" creationId="{D3AF3E4D-7E9F-46CC-931C-B6052E77D73D}"/>
          </ac:spMkLst>
        </pc:spChg>
        <pc:spChg chg="add mod ord">
          <ac:chgData name="Thomas Stensitzki" userId="75cafe6b-2f2a-469b-85c4-eec3b9c972ba" providerId="ADAL" clId="{F17CDA02-90FA-4D24-97F8-535DD3CEBAF4}" dt="2019-06-23T19:55:36.140" v="9607" actId="113"/>
          <ac:spMkLst>
            <pc:docMk/>
            <pc:sldMk cId="4181409217" sldId="272"/>
            <ac:spMk id="23" creationId="{678F6878-51E7-465B-BEA9-A309482958CB}"/>
          </ac:spMkLst>
        </pc:spChg>
        <pc:spChg chg="add mod ord">
          <ac:chgData name="Thomas Stensitzki" userId="75cafe6b-2f2a-469b-85c4-eec3b9c972ba" providerId="ADAL" clId="{F17CDA02-90FA-4D24-97F8-535DD3CEBAF4}" dt="2019-06-23T19:55:55.536" v="9612" actId="166"/>
          <ac:spMkLst>
            <pc:docMk/>
            <pc:sldMk cId="4181409217" sldId="272"/>
            <ac:spMk id="24" creationId="{98DAD606-13DE-44D8-9498-51C5013E4A82}"/>
          </ac:spMkLst>
        </pc:spChg>
        <pc:spChg chg="add del mod ord">
          <ac:chgData name="Thomas Stensitzki" userId="75cafe6b-2f2a-469b-85c4-eec3b9c972ba" providerId="ADAL" clId="{F17CDA02-90FA-4D24-97F8-535DD3CEBAF4}" dt="2019-06-23T19:54:36.995" v="9596" actId="478"/>
          <ac:spMkLst>
            <pc:docMk/>
            <pc:sldMk cId="4181409217" sldId="272"/>
            <ac:spMk id="30" creationId="{46920396-84E5-441C-A2EF-71462C30D467}"/>
          </ac:spMkLst>
        </pc:spChg>
        <pc:spChg chg="add mod">
          <ac:chgData name="Thomas Stensitzki" userId="75cafe6b-2f2a-469b-85c4-eec3b9c972ba" providerId="ADAL" clId="{F17CDA02-90FA-4D24-97F8-535DD3CEBAF4}" dt="2019-06-22T10:34:55.727" v="2226" actId="164"/>
          <ac:spMkLst>
            <pc:docMk/>
            <pc:sldMk cId="4181409217" sldId="272"/>
            <ac:spMk id="31" creationId="{8B0DE718-768E-4364-93C6-8FAD4D989A60}"/>
          </ac:spMkLst>
        </pc:spChg>
        <pc:spChg chg="add mod">
          <ac:chgData name="Thomas Stensitzki" userId="75cafe6b-2f2a-469b-85c4-eec3b9c972ba" providerId="ADAL" clId="{F17CDA02-90FA-4D24-97F8-535DD3CEBAF4}" dt="2019-06-22T10:35:09.991" v="2228" actId="164"/>
          <ac:spMkLst>
            <pc:docMk/>
            <pc:sldMk cId="4181409217" sldId="272"/>
            <ac:spMk id="32" creationId="{828B5366-5857-4F0E-A406-DB0BD4EA0416}"/>
          </ac:spMkLst>
        </pc:spChg>
        <pc:spChg chg="add mod">
          <ac:chgData name="Thomas Stensitzki" userId="75cafe6b-2f2a-469b-85c4-eec3b9c972ba" providerId="ADAL" clId="{F17CDA02-90FA-4D24-97F8-535DD3CEBAF4}" dt="2019-06-22T10:34:42.300" v="2224" actId="164"/>
          <ac:spMkLst>
            <pc:docMk/>
            <pc:sldMk cId="4181409217" sldId="272"/>
            <ac:spMk id="33" creationId="{A5977A51-FE53-40E4-B495-F1CCA75332ED}"/>
          </ac:spMkLst>
        </pc:spChg>
        <pc:spChg chg="add mod">
          <ac:chgData name="Thomas Stensitzki" userId="75cafe6b-2f2a-469b-85c4-eec3b9c972ba" providerId="ADAL" clId="{F17CDA02-90FA-4D24-97F8-535DD3CEBAF4}" dt="2019-06-22T10:35:01.717" v="2227" actId="164"/>
          <ac:spMkLst>
            <pc:docMk/>
            <pc:sldMk cId="4181409217" sldId="272"/>
            <ac:spMk id="34" creationId="{85EA1C6C-CCB7-44E2-B5D6-8978D948633E}"/>
          </ac:spMkLst>
        </pc:spChg>
        <pc:spChg chg="add mod">
          <ac:chgData name="Thomas Stensitzki" userId="75cafe6b-2f2a-469b-85c4-eec3b9c972ba" providerId="ADAL" clId="{F17CDA02-90FA-4D24-97F8-535DD3CEBAF4}" dt="2019-06-23T19:56:41.852" v="9620" actId="164"/>
          <ac:spMkLst>
            <pc:docMk/>
            <pc:sldMk cId="4181409217" sldId="272"/>
            <ac:spMk id="35" creationId="{FF7D9C01-C2E5-415C-A75A-2C42DBC012FE}"/>
          </ac:spMkLst>
        </pc:spChg>
        <pc:spChg chg="add mod">
          <ac:chgData name="Thomas Stensitzki" userId="75cafe6b-2f2a-469b-85c4-eec3b9c972ba" providerId="ADAL" clId="{F17CDA02-90FA-4D24-97F8-535DD3CEBAF4}" dt="2019-06-23T19:56:41.852" v="9620" actId="164"/>
          <ac:spMkLst>
            <pc:docMk/>
            <pc:sldMk cId="4181409217" sldId="272"/>
            <ac:spMk id="36" creationId="{FE9CF4AE-96B4-4B92-8829-4A00CB381A77}"/>
          </ac:spMkLst>
        </pc:spChg>
        <pc:spChg chg="add mod">
          <ac:chgData name="Thomas Stensitzki" userId="75cafe6b-2f2a-469b-85c4-eec3b9c972ba" providerId="ADAL" clId="{F17CDA02-90FA-4D24-97F8-535DD3CEBAF4}" dt="2019-06-22T10:34:48.396" v="2225" actId="164"/>
          <ac:spMkLst>
            <pc:docMk/>
            <pc:sldMk cId="4181409217" sldId="272"/>
            <ac:spMk id="37" creationId="{A776916D-83D9-4C75-B166-78394EC7A2E9}"/>
          </ac:spMkLst>
        </pc:spChg>
        <pc:spChg chg="add mod">
          <ac:chgData name="Thomas Stensitzki" userId="75cafe6b-2f2a-469b-85c4-eec3b9c972ba" providerId="ADAL" clId="{F17CDA02-90FA-4D24-97F8-535DD3CEBAF4}" dt="2019-06-22T10:34:48.396" v="2225" actId="164"/>
          <ac:spMkLst>
            <pc:docMk/>
            <pc:sldMk cId="4181409217" sldId="272"/>
            <ac:spMk id="38" creationId="{E709AAF2-E5F9-4F89-BB7C-89B09857E487}"/>
          </ac:spMkLst>
        </pc:spChg>
        <pc:spChg chg="add mod">
          <ac:chgData name="Thomas Stensitzki" userId="75cafe6b-2f2a-469b-85c4-eec3b9c972ba" providerId="ADAL" clId="{F17CDA02-90FA-4D24-97F8-535DD3CEBAF4}" dt="2019-06-22T10:34:55.727" v="2226" actId="164"/>
          <ac:spMkLst>
            <pc:docMk/>
            <pc:sldMk cId="4181409217" sldId="272"/>
            <ac:spMk id="40" creationId="{9AB25195-214F-4B78-B13A-3A620368F217}"/>
          </ac:spMkLst>
        </pc:spChg>
        <pc:spChg chg="add mod">
          <ac:chgData name="Thomas Stensitzki" userId="75cafe6b-2f2a-469b-85c4-eec3b9c972ba" providerId="ADAL" clId="{F17CDA02-90FA-4D24-97F8-535DD3CEBAF4}" dt="2019-06-22T10:35:01.717" v="2227" actId="164"/>
          <ac:spMkLst>
            <pc:docMk/>
            <pc:sldMk cId="4181409217" sldId="272"/>
            <ac:spMk id="42" creationId="{86E7152C-3640-49AF-8A49-C2B218F44821}"/>
          </ac:spMkLst>
        </pc:spChg>
        <pc:spChg chg="add mod">
          <ac:chgData name="Thomas Stensitzki" userId="75cafe6b-2f2a-469b-85c4-eec3b9c972ba" providerId="ADAL" clId="{F17CDA02-90FA-4D24-97F8-535DD3CEBAF4}" dt="2019-06-22T10:34:42.300" v="2224" actId="164"/>
          <ac:spMkLst>
            <pc:docMk/>
            <pc:sldMk cId="4181409217" sldId="272"/>
            <ac:spMk id="44" creationId="{F1D39462-8DCE-4D6B-BA26-973C9175354D}"/>
          </ac:spMkLst>
        </pc:spChg>
        <pc:spChg chg="add mod">
          <ac:chgData name="Thomas Stensitzki" userId="75cafe6b-2f2a-469b-85c4-eec3b9c972ba" providerId="ADAL" clId="{F17CDA02-90FA-4D24-97F8-535DD3CEBAF4}" dt="2019-06-22T10:35:09.991" v="2228" actId="164"/>
          <ac:spMkLst>
            <pc:docMk/>
            <pc:sldMk cId="4181409217" sldId="272"/>
            <ac:spMk id="46" creationId="{872868AA-37EB-4832-B90A-F6974E34FA79}"/>
          </ac:spMkLst>
        </pc:spChg>
        <pc:spChg chg="add mod">
          <ac:chgData name="Thomas Stensitzki" userId="75cafe6b-2f2a-469b-85c4-eec3b9c972ba" providerId="ADAL" clId="{F17CDA02-90FA-4D24-97F8-535DD3CEBAF4}" dt="2019-06-23T19:56:50.863" v="9621" actId="164"/>
          <ac:spMkLst>
            <pc:docMk/>
            <pc:sldMk cId="4181409217" sldId="272"/>
            <ac:spMk id="48" creationId="{08BBD35C-3E05-4E9C-B543-14C9A82682CB}"/>
          </ac:spMkLst>
        </pc:spChg>
        <pc:spChg chg="add mod">
          <ac:chgData name="Thomas Stensitzki" userId="75cafe6b-2f2a-469b-85c4-eec3b9c972ba" providerId="ADAL" clId="{F17CDA02-90FA-4D24-97F8-535DD3CEBAF4}" dt="2019-06-23T19:56:50.863" v="9621" actId="164"/>
          <ac:spMkLst>
            <pc:docMk/>
            <pc:sldMk cId="4181409217" sldId="272"/>
            <ac:spMk id="49" creationId="{85B3AF19-4859-4200-B0D9-453A829007CB}"/>
          </ac:spMkLst>
        </pc:spChg>
        <pc:spChg chg="add mod">
          <ac:chgData name="Thomas Stensitzki" userId="75cafe6b-2f2a-469b-85c4-eec3b9c972ba" providerId="ADAL" clId="{F17CDA02-90FA-4D24-97F8-535DD3CEBAF4}" dt="2019-06-23T20:13:29.348" v="9673" actId="20577"/>
          <ac:spMkLst>
            <pc:docMk/>
            <pc:sldMk cId="4181409217" sldId="272"/>
            <ac:spMk id="50" creationId="{AD6FE47B-788C-4C57-BDC9-81AD7E22BC5F}"/>
          </ac:spMkLst>
        </pc:spChg>
        <pc:spChg chg="add mod">
          <ac:chgData name="Thomas Stensitzki" userId="75cafe6b-2f2a-469b-85c4-eec3b9c972ba" providerId="ADAL" clId="{F17CDA02-90FA-4D24-97F8-535DD3CEBAF4}" dt="2019-06-23T19:56:55.515" v="9622" actId="164"/>
          <ac:spMkLst>
            <pc:docMk/>
            <pc:sldMk cId="4181409217" sldId="272"/>
            <ac:spMk id="51" creationId="{64CE1BFE-06AF-417E-876C-571C67498E3F}"/>
          </ac:spMkLst>
        </pc:spChg>
        <pc:spChg chg="add mod">
          <ac:chgData name="Thomas Stensitzki" userId="75cafe6b-2f2a-469b-85c4-eec3b9c972ba" providerId="ADAL" clId="{F17CDA02-90FA-4D24-97F8-535DD3CEBAF4}" dt="2019-06-23T19:56:36.682" v="9619" actId="164"/>
          <ac:spMkLst>
            <pc:docMk/>
            <pc:sldMk cId="4181409217" sldId="272"/>
            <ac:spMk id="52" creationId="{B5C7AECB-AE75-4FFE-BCF3-AF05F7E3AE6E}"/>
          </ac:spMkLst>
        </pc:spChg>
        <pc:spChg chg="add mod">
          <ac:chgData name="Thomas Stensitzki" userId="75cafe6b-2f2a-469b-85c4-eec3b9c972ba" providerId="ADAL" clId="{F17CDA02-90FA-4D24-97F8-535DD3CEBAF4}" dt="2019-06-23T19:56:36.682" v="9619" actId="164"/>
          <ac:spMkLst>
            <pc:docMk/>
            <pc:sldMk cId="4181409217" sldId="272"/>
            <ac:spMk id="53" creationId="{62BE775D-EDD3-4BB8-B961-8ECBC861631F}"/>
          </ac:spMkLst>
        </pc:spChg>
        <pc:spChg chg="add mod">
          <ac:chgData name="Thomas Stensitzki" userId="75cafe6b-2f2a-469b-85c4-eec3b9c972ba" providerId="ADAL" clId="{F17CDA02-90FA-4D24-97F8-535DD3CEBAF4}" dt="2019-06-23T19:56:55.515" v="9622" actId="164"/>
          <ac:spMkLst>
            <pc:docMk/>
            <pc:sldMk cId="4181409217" sldId="272"/>
            <ac:spMk id="54" creationId="{9245AF7A-98BE-4B6C-A683-32562887D8E0}"/>
          </ac:spMkLst>
        </pc:spChg>
        <pc:spChg chg="add mod">
          <ac:chgData name="Thomas Stensitzki" userId="75cafe6b-2f2a-469b-85c4-eec3b9c972ba" providerId="ADAL" clId="{F17CDA02-90FA-4D24-97F8-535DD3CEBAF4}" dt="2019-06-23T19:57:11.154" v="9624" actId="164"/>
          <ac:spMkLst>
            <pc:docMk/>
            <pc:sldMk cId="4181409217" sldId="272"/>
            <ac:spMk id="55" creationId="{E1803EAA-F17E-430A-BFF7-D55AFAF73B48}"/>
          </ac:spMkLst>
        </pc:spChg>
        <pc:spChg chg="add mod">
          <ac:chgData name="Thomas Stensitzki" userId="75cafe6b-2f2a-469b-85c4-eec3b9c972ba" providerId="ADAL" clId="{F17CDA02-90FA-4D24-97F8-535DD3CEBAF4}" dt="2019-06-22T10:35:20.023" v="2229" actId="164"/>
          <ac:spMkLst>
            <pc:docMk/>
            <pc:sldMk cId="4181409217" sldId="272"/>
            <ac:spMk id="57" creationId="{7FF1716F-CEA2-487E-8A1C-A19D987DEF8C}"/>
          </ac:spMkLst>
        </pc:spChg>
        <pc:spChg chg="add mod">
          <ac:chgData name="Thomas Stensitzki" userId="75cafe6b-2f2a-469b-85c4-eec3b9c972ba" providerId="ADAL" clId="{F17CDA02-90FA-4D24-97F8-535DD3CEBAF4}" dt="2019-06-22T10:35:20.023" v="2229" actId="164"/>
          <ac:spMkLst>
            <pc:docMk/>
            <pc:sldMk cId="4181409217" sldId="272"/>
            <ac:spMk id="58" creationId="{53B42BC3-1B8B-48D8-A6C4-563771CED03C}"/>
          </ac:spMkLst>
        </pc:spChg>
        <pc:spChg chg="add mod">
          <ac:chgData name="Thomas Stensitzki" userId="75cafe6b-2f2a-469b-85c4-eec3b9c972ba" providerId="ADAL" clId="{F17CDA02-90FA-4D24-97F8-535DD3CEBAF4}" dt="2019-06-23T20:13:18.915" v="9672" actId="20577"/>
          <ac:spMkLst>
            <pc:docMk/>
            <pc:sldMk cId="4181409217" sldId="272"/>
            <ac:spMk id="60" creationId="{060A644C-0CC7-4799-A77E-44931862FF9A}"/>
          </ac:spMkLst>
        </pc:spChg>
        <pc:spChg chg="add mod">
          <ac:chgData name="Thomas Stensitzki" userId="75cafe6b-2f2a-469b-85c4-eec3b9c972ba" providerId="ADAL" clId="{F17CDA02-90FA-4D24-97F8-535DD3CEBAF4}" dt="2019-06-23T19:57:01.543" v="9623" actId="164"/>
          <ac:spMkLst>
            <pc:docMk/>
            <pc:sldMk cId="4181409217" sldId="272"/>
            <ac:spMk id="61" creationId="{DBAC3D47-63E1-42CB-9A3C-9F7CC264BDAB}"/>
          </ac:spMkLst>
        </pc:spChg>
        <pc:grpChg chg="add mod">
          <ac:chgData name="Thomas Stensitzki" userId="75cafe6b-2f2a-469b-85c4-eec3b9c972ba" providerId="ADAL" clId="{F17CDA02-90FA-4D24-97F8-535DD3CEBAF4}" dt="2019-06-23T19:56:36.682" v="9619" actId="164"/>
          <ac:grpSpMkLst>
            <pc:docMk/>
            <pc:sldMk cId="4181409217" sldId="272"/>
            <ac:grpSpMk id="2" creationId="{BF4BBEDA-A702-410B-9960-CD15ABC22EA9}"/>
          </ac:grpSpMkLst>
        </pc:grpChg>
        <pc:grpChg chg="add mod">
          <ac:chgData name="Thomas Stensitzki" userId="75cafe6b-2f2a-469b-85c4-eec3b9c972ba" providerId="ADAL" clId="{F17CDA02-90FA-4D24-97F8-535DD3CEBAF4}" dt="2019-06-23T19:56:41.852" v="9620" actId="164"/>
          <ac:grpSpMkLst>
            <pc:docMk/>
            <pc:sldMk cId="4181409217" sldId="272"/>
            <ac:grpSpMk id="3" creationId="{3B539682-FE35-4A47-9017-5CB1026EC30A}"/>
          </ac:grpSpMkLst>
        </pc:grpChg>
        <pc:grpChg chg="add del mod">
          <ac:chgData name="Thomas Stensitzki" userId="75cafe6b-2f2a-469b-85c4-eec3b9c972ba" providerId="ADAL" clId="{F17CDA02-90FA-4D24-97F8-535DD3CEBAF4}" dt="2019-06-23T19:55:40.601" v="9609" actId="478"/>
          <ac:grpSpMkLst>
            <pc:docMk/>
            <pc:sldMk cId="4181409217" sldId="272"/>
            <ac:grpSpMk id="7" creationId="{8DE85229-B5C3-441B-80F9-568EAD28AD2E}"/>
          </ac:grpSpMkLst>
        </pc:grpChg>
        <pc:grpChg chg="add mod">
          <ac:chgData name="Thomas Stensitzki" userId="75cafe6b-2f2a-469b-85c4-eec3b9c972ba" providerId="ADAL" clId="{F17CDA02-90FA-4D24-97F8-535DD3CEBAF4}" dt="2019-06-23T19:56:55.515" v="9622" actId="164"/>
          <ac:grpSpMkLst>
            <pc:docMk/>
            <pc:sldMk cId="4181409217" sldId="272"/>
            <ac:grpSpMk id="8" creationId="{C05D71FE-2896-452E-9902-67184406A48D}"/>
          </ac:grpSpMkLst>
        </pc:grpChg>
        <pc:grpChg chg="add mod">
          <ac:chgData name="Thomas Stensitzki" userId="75cafe6b-2f2a-469b-85c4-eec3b9c972ba" providerId="ADAL" clId="{F17CDA02-90FA-4D24-97F8-535DD3CEBAF4}" dt="2019-06-23T19:57:11.154" v="9624" actId="164"/>
          <ac:grpSpMkLst>
            <pc:docMk/>
            <pc:sldMk cId="4181409217" sldId="272"/>
            <ac:grpSpMk id="9" creationId="{F3E267AE-397C-406C-B7EE-8A583560DC07}"/>
          </ac:grpSpMkLst>
        </pc:grpChg>
        <pc:grpChg chg="add del mod">
          <ac:chgData name="Thomas Stensitzki" userId="75cafe6b-2f2a-469b-85c4-eec3b9c972ba" providerId="ADAL" clId="{F17CDA02-90FA-4D24-97F8-535DD3CEBAF4}" dt="2019-06-23T19:55:14.961" v="9603" actId="478"/>
          <ac:grpSpMkLst>
            <pc:docMk/>
            <pc:sldMk cId="4181409217" sldId="272"/>
            <ac:grpSpMk id="10" creationId="{7EFC3DAD-BF7D-47CB-B748-4C9F8351987D}"/>
          </ac:grpSpMkLst>
        </pc:grpChg>
        <pc:grpChg chg="add mod">
          <ac:chgData name="Thomas Stensitzki" userId="75cafe6b-2f2a-469b-85c4-eec3b9c972ba" providerId="ADAL" clId="{F17CDA02-90FA-4D24-97F8-535DD3CEBAF4}" dt="2019-06-23T19:56:36.682" v="9619" actId="164"/>
          <ac:grpSpMkLst>
            <pc:docMk/>
            <pc:sldMk cId="4181409217" sldId="272"/>
            <ac:grpSpMk id="11" creationId="{783A77FB-B8A7-462C-BECE-BF5CA0671407}"/>
          </ac:grpSpMkLst>
        </pc:grpChg>
        <pc:grpChg chg="add mod">
          <ac:chgData name="Thomas Stensitzki" userId="75cafe6b-2f2a-469b-85c4-eec3b9c972ba" providerId="ADAL" clId="{F17CDA02-90FA-4D24-97F8-535DD3CEBAF4}" dt="2019-06-23T19:56:41.852" v="9620" actId="164"/>
          <ac:grpSpMkLst>
            <pc:docMk/>
            <pc:sldMk cId="4181409217" sldId="272"/>
            <ac:grpSpMk id="25" creationId="{C0C5983E-B6E1-44B9-B363-400916CD2C8E}"/>
          </ac:grpSpMkLst>
        </pc:grpChg>
        <pc:grpChg chg="add mod">
          <ac:chgData name="Thomas Stensitzki" userId="75cafe6b-2f2a-469b-85c4-eec3b9c972ba" providerId="ADAL" clId="{F17CDA02-90FA-4D24-97F8-535DD3CEBAF4}" dt="2019-06-23T19:56:50.863" v="9621" actId="164"/>
          <ac:grpSpMkLst>
            <pc:docMk/>
            <pc:sldMk cId="4181409217" sldId="272"/>
            <ac:grpSpMk id="26" creationId="{13602BC6-8D51-483C-9791-63A362FCE7C9}"/>
          </ac:grpSpMkLst>
        </pc:grpChg>
        <pc:grpChg chg="add mod">
          <ac:chgData name="Thomas Stensitzki" userId="75cafe6b-2f2a-469b-85c4-eec3b9c972ba" providerId="ADAL" clId="{F17CDA02-90FA-4D24-97F8-535DD3CEBAF4}" dt="2019-06-23T19:56:55.515" v="9622" actId="164"/>
          <ac:grpSpMkLst>
            <pc:docMk/>
            <pc:sldMk cId="4181409217" sldId="272"/>
            <ac:grpSpMk id="27" creationId="{BB6DB7D0-CAB7-46A9-8B61-49ED66677DA3}"/>
          </ac:grpSpMkLst>
        </pc:grpChg>
        <pc:grpChg chg="add mod">
          <ac:chgData name="Thomas Stensitzki" userId="75cafe6b-2f2a-469b-85c4-eec3b9c972ba" providerId="ADAL" clId="{F17CDA02-90FA-4D24-97F8-535DD3CEBAF4}" dt="2019-06-23T19:57:01.543" v="9623" actId="164"/>
          <ac:grpSpMkLst>
            <pc:docMk/>
            <pc:sldMk cId="4181409217" sldId="272"/>
            <ac:grpSpMk id="28" creationId="{9D7C7ECC-FF3E-4634-86AF-17D46D4C21B6}"/>
          </ac:grpSpMkLst>
        </pc:grpChg>
        <pc:grpChg chg="add mod">
          <ac:chgData name="Thomas Stensitzki" userId="75cafe6b-2f2a-469b-85c4-eec3b9c972ba" providerId="ADAL" clId="{F17CDA02-90FA-4D24-97F8-535DD3CEBAF4}" dt="2019-06-23T19:57:11.154" v="9624" actId="164"/>
          <ac:grpSpMkLst>
            <pc:docMk/>
            <pc:sldMk cId="4181409217" sldId="272"/>
            <ac:grpSpMk id="29" creationId="{B4A3F4C3-2888-4A33-9B1C-38341503BF64}"/>
          </ac:grpSpMkLst>
        </pc:grpChg>
        <pc:grpChg chg="add mod">
          <ac:chgData name="Thomas Stensitzki" userId="75cafe6b-2f2a-469b-85c4-eec3b9c972ba" providerId="ADAL" clId="{F17CDA02-90FA-4D24-97F8-535DD3CEBAF4}" dt="2019-06-23T19:57:01.543" v="9623" actId="164"/>
          <ac:grpSpMkLst>
            <pc:docMk/>
            <pc:sldMk cId="4181409217" sldId="272"/>
            <ac:grpSpMk id="62" creationId="{E0750D8C-5E4C-4D11-B5A1-5268D0D1833A}"/>
          </ac:grpSpMkLst>
        </pc:grpChg>
        <pc:grpChg chg="add mod">
          <ac:chgData name="Thomas Stensitzki" userId="75cafe6b-2f2a-469b-85c4-eec3b9c972ba" providerId="ADAL" clId="{F17CDA02-90FA-4D24-97F8-535DD3CEBAF4}" dt="2019-06-23T19:56:50.863" v="9621" actId="164"/>
          <ac:grpSpMkLst>
            <pc:docMk/>
            <pc:sldMk cId="4181409217" sldId="272"/>
            <ac:grpSpMk id="67" creationId="{14F30C5A-0DE3-4F0E-A2DB-A0B47C8DE898}"/>
          </ac:grpSpMkLst>
        </pc:grpChg>
        <pc:picChg chg="del">
          <ac:chgData name="Thomas Stensitzki" userId="75cafe6b-2f2a-469b-85c4-eec3b9c972ba" providerId="ADAL" clId="{F17CDA02-90FA-4D24-97F8-535DD3CEBAF4}" dt="2019-06-22T10:20:30.658" v="1149" actId="478"/>
          <ac:picMkLst>
            <pc:docMk/>
            <pc:sldMk cId="4181409217" sldId="272"/>
            <ac:picMk id="25" creationId="{8F06ECB4-087E-4A92-B517-18D1E238B822}"/>
          </ac:picMkLst>
        </pc:picChg>
        <pc:picChg chg="del">
          <ac:chgData name="Thomas Stensitzki" userId="75cafe6b-2f2a-469b-85c4-eec3b9c972ba" providerId="ADAL" clId="{F17CDA02-90FA-4D24-97F8-535DD3CEBAF4}" dt="2019-06-22T10:20:30.658" v="1149" actId="478"/>
          <ac:picMkLst>
            <pc:docMk/>
            <pc:sldMk cId="4181409217" sldId="272"/>
            <ac:picMk id="26" creationId="{7BD57EE2-05C6-416C-B8C1-974B74F2AD1B}"/>
          </ac:picMkLst>
        </pc:picChg>
        <pc:picChg chg="del">
          <ac:chgData name="Thomas Stensitzki" userId="75cafe6b-2f2a-469b-85c4-eec3b9c972ba" providerId="ADAL" clId="{F17CDA02-90FA-4D24-97F8-535DD3CEBAF4}" dt="2019-06-22T10:20:30.658" v="1149" actId="478"/>
          <ac:picMkLst>
            <pc:docMk/>
            <pc:sldMk cId="4181409217" sldId="272"/>
            <ac:picMk id="27" creationId="{41303BB4-9E86-4FFF-9CE1-E93ED97BE774}"/>
          </ac:picMkLst>
        </pc:picChg>
        <pc:picChg chg="del">
          <ac:chgData name="Thomas Stensitzki" userId="75cafe6b-2f2a-469b-85c4-eec3b9c972ba" providerId="ADAL" clId="{F17CDA02-90FA-4D24-97F8-535DD3CEBAF4}" dt="2019-06-22T10:20:30.658" v="1149" actId="478"/>
          <ac:picMkLst>
            <pc:docMk/>
            <pc:sldMk cId="4181409217" sldId="272"/>
            <ac:picMk id="28" creationId="{81632187-CF19-4D90-AB01-CDAAC9472B38}"/>
          </ac:picMkLst>
        </pc:picChg>
        <pc:picChg chg="del">
          <ac:chgData name="Thomas Stensitzki" userId="75cafe6b-2f2a-469b-85c4-eec3b9c972ba" providerId="ADAL" clId="{F17CDA02-90FA-4D24-97F8-535DD3CEBAF4}" dt="2019-06-22T10:20:30.658" v="1149" actId="478"/>
          <ac:picMkLst>
            <pc:docMk/>
            <pc:sldMk cId="4181409217" sldId="272"/>
            <ac:picMk id="29" creationId="{440B3584-95AB-408A-A36E-0031142A04B5}"/>
          </ac:picMkLst>
        </pc:picChg>
        <pc:cxnChg chg="add mod">
          <ac:chgData name="Thomas Stensitzki" userId="75cafe6b-2f2a-469b-85c4-eec3b9c972ba" providerId="ADAL" clId="{F17CDA02-90FA-4D24-97F8-535DD3CEBAF4}" dt="2019-06-22T10:34:55.727" v="2226" actId="164"/>
          <ac:cxnSpMkLst>
            <pc:docMk/>
            <pc:sldMk cId="4181409217" sldId="272"/>
            <ac:cxnSpMk id="16" creationId="{25D8F91F-4CB3-4736-8923-6F7190B8A879}"/>
          </ac:cxnSpMkLst>
        </pc:cxnChg>
        <pc:cxnChg chg="add mod">
          <ac:chgData name="Thomas Stensitzki" userId="75cafe6b-2f2a-469b-85c4-eec3b9c972ba" providerId="ADAL" clId="{F17CDA02-90FA-4D24-97F8-535DD3CEBAF4}" dt="2019-06-22T10:34:48.396" v="2225" actId="164"/>
          <ac:cxnSpMkLst>
            <pc:docMk/>
            <pc:sldMk cId="4181409217" sldId="272"/>
            <ac:cxnSpMk id="17" creationId="{75C5ADB2-0C12-4E2F-AF97-10BFCE33DBFB}"/>
          </ac:cxnSpMkLst>
        </pc:cxnChg>
        <pc:cxnChg chg="add mod">
          <ac:chgData name="Thomas Stensitzki" userId="75cafe6b-2f2a-469b-85c4-eec3b9c972ba" providerId="ADAL" clId="{F17CDA02-90FA-4D24-97F8-535DD3CEBAF4}" dt="2019-06-22T10:35:01.717" v="2227" actId="164"/>
          <ac:cxnSpMkLst>
            <pc:docMk/>
            <pc:sldMk cId="4181409217" sldId="272"/>
            <ac:cxnSpMk id="19" creationId="{A9BD7217-D941-414C-906E-24DE02B591D3}"/>
          </ac:cxnSpMkLst>
        </pc:cxnChg>
        <pc:cxnChg chg="add mod">
          <ac:chgData name="Thomas Stensitzki" userId="75cafe6b-2f2a-469b-85c4-eec3b9c972ba" providerId="ADAL" clId="{F17CDA02-90FA-4D24-97F8-535DD3CEBAF4}" dt="2019-06-22T10:35:09.991" v="2228" actId="164"/>
          <ac:cxnSpMkLst>
            <pc:docMk/>
            <pc:sldMk cId="4181409217" sldId="272"/>
            <ac:cxnSpMk id="20" creationId="{A9C9F1BC-C04B-478B-98C4-7060EEBB64DE}"/>
          </ac:cxnSpMkLst>
        </pc:cxnChg>
        <pc:cxnChg chg="add mod">
          <ac:chgData name="Thomas Stensitzki" userId="75cafe6b-2f2a-469b-85c4-eec3b9c972ba" providerId="ADAL" clId="{F17CDA02-90FA-4D24-97F8-535DD3CEBAF4}" dt="2019-06-22T10:34:42.300" v="2224" actId="164"/>
          <ac:cxnSpMkLst>
            <pc:docMk/>
            <pc:sldMk cId="4181409217" sldId="272"/>
            <ac:cxnSpMk id="21" creationId="{8815198C-E096-4898-8472-997B4DE6C37D}"/>
          </ac:cxnSpMkLst>
        </pc:cxnChg>
        <pc:cxnChg chg="add mod">
          <ac:chgData name="Thomas Stensitzki" userId="75cafe6b-2f2a-469b-85c4-eec3b9c972ba" providerId="ADAL" clId="{F17CDA02-90FA-4D24-97F8-535DD3CEBAF4}" dt="2019-06-22T10:34:48.396" v="2225" actId="164"/>
          <ac:cxnSpMkLst>
            <pc:docMk/>
            <pc:sldMk cId="4181409217" sldId="272"/>
            <ac:cxnSpMk id="39" creationId="{62FC35EE-37F5-46CB-A39B-759D1A18DD5D}"/>
          </ac:cxnSpMkLst>
        </pc:cxnChg>
        <pc:cxnChg chg="add mod">
          <ac:chgData name="Thomas Stensitzki" userId="75cafe6b-2f2a-469b-85c4-eec3b9c972ba" providerId="ADAL" clId="{F17CDA02-90FA-4D24-97F8-535DD3CEBAF4}" dt="2019-06-22T10:34:55.727" v="2226" actId="164"/>
          <ac:cxnSpMkLst>
            <pc:docMk/>
            <pc:sldMk cId="4181409217" sldId="272"/>
            <ac:cxnSpMk id="41" creationId="{33AD147E-FD90-499E-B511-B6E748838913}"/>
          </ac:cxnSpMkLst>
        </pc:cxnChg>
        <pc:cxnChg chg="add mod">
          <ac:chgData name="Thomas Stensitzki" userId="75cafe6b-2f2a-469b-85c4-eec3b9c972ba" providerId="ADAL" clId="{F17CDA02-90FA-4D24-97F8-535DD3CEBAF4}" dt="2019-06-22T10:35:01.717" v="2227" actId="164"/>
          <ac:cxnSpMkLst>
            <pc:docMk/>
            <pc:sldMk cId="4181409217" sldId="272"/>
            <ac:cxnSpMk id="43" creationId="{87D7D87A-65FB-4F50-8CBF-6D8EFE574351}"/>
          </ac:cxnSpMkLst>
        </pc:cxnChg>
        <pc:cxnChg chg="add mod">
          <ac:chgData name="Thomas Stensitzki" userId="75cafe6b-2f2a-469b-85c4-eec3b9c972ba" providerId="ADAL" clId="{F17CDA02-90FA-4D24-97F8-535DD3CEBAF4}" dt="2019-06-22T10:34:42.300" v="2224" actId="164"/>
          <ac:cxnSpMkLst>
            <pc:docMk/>
            <pc:sldMk cId="4181409217" sldId="272"/>
            <ac:cxnSpMk id="45" creationId="{E9EC7C7C-4AA7-4A96-B6FA-2D6C197E482F}"/>
          </ac:cxnSpMkLst>
        </pc:cxnChg>
        <pc:cxnChg chg="add mod">
          <ac:chgData name="Thomas Stensitzki" userId="75cafe6b-2f2a-469b-85c4-eec3b9c972ba" providerId="ADAL" clId="{F17CDA02-90FA-4D24-97F8-535DD3CEBAF4}" dt="2019-06-22T10:35:09.991" v="2228" actId="164"/>
          <ac:cxnSpMkLst>
            <pc:docMk/>
            <pc:sldMk cId="4181409217" sldId="272"/>
            <ac:cxnSpMk id="47" creationId="{DB3D46FA-9930-4FE5-80B2-7021EE6A5F75}"/>
          </ac:cxnSpMkLst>
        </pc:cxnChg>
        <pc:cxnChg chg="add mod">
          <ac:chgData name="Thomas Stensitzki" userId="75cafe6b-2f2a-469b-85c4-eec3b9c972ba" providerId="ADAL" clId="{F17CDA02-90FA-4D24-97F8-535DD3CEBAF4}" dt="2019-06-22T10:35:20.023" v="2229" actId="164"/>
          <ac:cxnSpMkLst>
            <pc:docMk/>
            <pc:sldMk cId="4181409217" sldId="272"/>
            <ac:cxnSpMk id="56" creationId="{F77BBD1E-5CD5-4EDC-B27A-16784AFDC74E}"/>
          </ac:cxnSpMkLst>
        </pc:cxnChg>
        <pc:cxnChg chg="add mod">
          <ac:chgData name="Thomas Stensitzki" userId="75cafe6b-2f2a-469b-85c4-eec3b9c972ba" providerId="ADAL" clId="{F17CDA02-90FA-4D24-97F8-535DD3CEBAF4}" dt="2019-06-22T10:35:20.023" v="2229" actId="164"/>
          <ac:cxnSpMkLst>
            <pc:docMk/>
            <pc:sldMk cId="4181409217" sldId="272"/>
            <ac:cxnSpMk id="59" creationId="{67D2EB4A-89EA-4E2B-9ABD-3E21762210A6}"/>
          </ac:cxnSpMkLst>
        </pc:cxnChg>
      </pc:sldChg>
      <pc:sldChg chg="addSp delSp modSp add mod modAnim">
        <pc:chgData name="Thomas Stensitzki" userId="75cafe6b-2f2a-469b-85c4-eec3b9c972ba" providerId="ADAL" clId="{F17CDA02-90FA-4D24-97F8-535DD3CEBAF4}" dt="2019-06-23T20:15:57.652" v="9707" actId="20577"/>
        <pc:sldMkLst>
          <pc:docMk/>
          <pc:sldMk cId="1031115120" sldId="273"/>
        </pc:sldMkLst>
        <pc:spChg chg="mod">
          <ac:chgData name="Thomas Stensitzki" userId="75cafe6b-2f2a-469b-85c4-eec3b9c972ba" providerId="ADAL" clId="{F17CDA02-90FA-4D24-97F8-535DD3CEBAF4}" dt="2019-06-23T20:15:33.232" v="9685" actId="20577"/>
          <ac:spMkLst>
            <pc:docMk/>
            <pc:sldMk cId="1031115120" sldId="273"/>
            <ac:spMk id="14" creationId="{F2CD2A51-0F8F-4617-BD22-C4A2B0C6256C}"/>
          </ac:spMkLst>
        </pc:spChg>
        <pc:spChg chg="del">
          <ac:chgData name="Thomas Stensitzki" userId="75cafe6b-2f2a-469b-85c4-eec3b9c972ba" providerId="ADAL" clId="{F17CDA02-90FA-4D24-97F8-535DD3CEBAF4}" dt="2019-06-22T10:37:23.149" v="2421" actId="478"/>
          <ac:spMkLst>
            <pc:docMk/>
            <pc:sldMk cId="1031115120" sldId="273"/>
            <ac:spMk id="18" creationId="{CCB0D80B-4EA9-411A-9531-CD41D34DFCCF}"/>
          </ac:spMkLst>
        </pc:spChg>
        <pc:spChg chg="del">
          <ac:chgData name="Thomas Stensitzki" userId="75cafe6b-2f2a-469b-85c4-eec3b9c972ba" providerId="ADAL" clId="{F17CDA02-90FA-4D24-97F8-535DD3CEBAF4}" dt="2019-06-22T10:37:23.149" v="2421" actId="478"/>
          <ac:spMkLst>
            <pc:docMk/>
            <pc:sldMk cId="1031115120" sldId="273"/>
            <ac:spMk id="22" creationId="{D3AF3E4D-7E9F-46CC-931C-B6052E77D73D}"/>
          </ac:spMkLst>
        </pc:spChg>
        <pc:spChg chg="del">
          <ac:chgData name="Thomas Stensitzki" userId="75cafe6b-2f2a-469b-85c4-eec3b9c972ba" providerId="ADAL" clId="{F17CDA02-90FA-4D24-97F8-535DD3CEBAF4}" dt="2019-06-22T10:37:23.149" v="2421" actId="478"/>
          <ac:spMkLst>
            <pc:docMk/>
            <pc:sldMk cId="1031115120" sldId="273"/>
            <ac:spMk id="23" creationId="{678F6878-51E7-465B-BEA9-A309482958CB}"/>
          </ac:spMkLst>
        </pc:spChg>
        <pc:spChg chg="del">
          <ac:chgData name="Thomas Stensitzki" userId="75cafe6b-2f2a-469b-85c4-eec3b9c972ba" providerId="ADAL" clId="{F17CDA02-90FA-4D24-97F8-535DD3CEBAF4}" dt="2019-06-22T10:37:23.149" v="2421" actId="478"/>
          <ac:spMkLst>
            <pc:docMk/>
            <pc:sldMk cId="1031115120" sldId="273"/>
            <ac:spMk id="24" creationId="{98DAD606-13DE-44D8-9498-51C5013E4A82}"/>
          </ac:spMkLst>
        </pc:spChg>
        <pc:spChg chg="del">
          <ac:chgData name="Thomas Stensitzki" userId="75cafe6b-2f2a-469b-85c4-eec3b9c972ba" providerId="ADAL" clId="{F17CDA02-90FA-4D24-97F8-535DD3CEBAF4}" dt="2019-06-22T10:37:23.149" v="2421" actId="478"/>
          <ac:spMkLst>
            <pc:docMk/>
            <pc:sldMk cId="1031115120" sldId="273"/>
            <ac:spMk id="30" creationId="{46920396-84E5-441C-A2EF-71462C30D467}"/>
          </ac:spMkLst>
        </pc:spChg>
        <pc:spChg chg="del">
          <ac:chgData name="Thomas Stensitzki" userId="75cafe6b-2f2a-469b-85c4-eec3b9c972ba" providerId="ADAL" clId="{F17CDA02-90FA-4D24-97F8-535DD3CEBAF4}" dt="2019-06-22T10:37:23.149" v="2421" actId="478"/>
          <ac:spMkLst>
            <pc:docMk/>
            <pc:sldMk cId="1031115120" sldId="273"/>
            <ac:spMk id="35" creationId="{FF7D9C01-C2E5-415C-A75A-2C42DBC012FE}"/>
          </ac:spMkLst>
        </pc:spChg>
        <pc:spChg chg="del">
          <ac:chgData name="Thomas Stensitzki" userId="75cafe6b-2f2a-469b-85c4-eec3b9c972ba" providerId="ADAL" clId="{F17CDA02-90FA-4D24-97F8-535DD3CEBAF4}" dt="2019-06-22T10:37:23.149" v="2421" actId="478"/>
          <ac:spMkLst>
            <pc:docMk/>
            <pc:sldMk cId="1031115120" sldId="273"/>
            <ac:spMk id="36" creationId="{FE9CF4AE-96B4-4B92-8829-4A00CB381A77}"/>
          </ac:spMkLst>
        </pc:spChg>
        <pc:spChg chg="del">
          <ac:chgData name="Thomas Stensitzki" userId="75cafe6b-2f2a-469b-85c4-eec3b9c972ba" providerId="ADAL" clId="{F17CDA02-90FA-4D24-97F8-535DD3CEBAF4}" dt="2019-06-22T10:37:23.149" v="2421" actId="478"/>
          <ac:spMkLst>
            <pc:docMk/>
            <pc:sldMk cId="1031115120" sldId="273"/>
            <ac:spMk id="48" creationId="{08BBD35C-3E05-4E9C-B543-14C9A82682CB}"/>
          </ac:spMkLst>
        </pc:spChg>
        <pc:spChg chg="del">
          <ac:chgData name="Thomas Stensitzki" userId="75cafe6b-2f2a-469b-85c4-eec3b9c972ba" providerId="ADAL" clId="{F17CDA02-90FA-4D24-97F8-535DD3CEBAF4}" dt="2019-06-22T10:37:23.149" v="2421" actId="478"/>
          <ac:spMkLst>
            <pc:docMk/>
            <pc:sldMk cId="1031115120" sldId="273"/>
            <ac:spMk id="49" creationId="{85B3AF19-4859-4200-B0D9-453A829007CB}"/>
          </ac:spMkLst>
        </pc:spChg>
        <pc:spChg chg="del">
          <ac:chgData name="Thomas Stensitzki" userId="75cafe6b-2f2a-469b-85c4-eec3b9c972ba" providerId="ADAL" clId="{F17CDA02-90FA-4D24-97F8-535DD3CEBAF4}" dt="2019-06-22T10:37:23.149" v="2421" actId="478"/>
          <ac:spMkLst>
            <pc:docMk/>
            <pc:sldMk cId="1031115120" sldId="273"/>
            <ac:spMk id="50" creationId="{AD6FE47B-788C-4C57-BDC9-81AD7E22BC5F}"/>
          </ac:spMkLst>
        </pc:spChg>
        <pc:spChg chg="del">
          <ac:chgData name="Thomas Stensitzki" userId="75cafe6b-2f2a-469b-85c4-eec3b9c972ba" providerId="ADAL" clId="{F17CDA02-90FA-4D24-97F8-535DD3CEBAF4}" dt="2019-06-22T10:37:23.149" v="2421" actId="478"/>
          <ac:spMkLst>
            <pc:docMk/>
            <pc:sldMk cId="1031115120" sldId="273"/>
            <ac:spMk id="51" creationId="{64CE1BFE-06AF-417E-876C-571C67498E3F}"/>
          </ac:spMkLst>
        </pc:spChg>
        <pc:spChg chg="del">
          <ac:chgData name="Thomas Stensitzki" userId="75cafe6b-2f2a-469b-85c4-eec3b9c972ba" providerId="ADAL" clId="{F17CDA02-90FA-4D24-97F8-535DD3CEBAF4}" dt="2019-06-22T10:37:23.149" v="2421" actId="478"/>
          <ac:spMkLst>
            <pc:docMk/>
            <pc:sldMk cId="1031115120" sldId="273"/>
            <ac:spMk id="52" creationId="{B5C7AECB-AE75-4FFE-BCF3-AF05F7E3AE6E}"/>
          </ac:spMkLst>
        </pc:spChg>
        <pc:spChg chg="del">
          <ac:chgData name="Thomas Stensitzki" userId="75cafe6b-2f2a-469b-85c4-eec3b9c972ba" providerId="ADAL" clId="{F17CDA02-90FA-4D24-97F8-535DD3CEBAF4}" dt="2019-06-22T10:37:23.149" v="2421" actId="478"/>
          <ac:spMkLst>
            <pc:docMk/>
            <pc:sldMk cId="1031115120" sldId="273"/>
            <ac:spMk id="53" creationId="{62BE775D-EDD3-4BB8-B961-8ECBC861631F}"/>
          </ac:spMkLst>
        </pc:spChg>
        <pc:spChg chg="del">
          <ac:chgData name="Thomas Stensitzki" userId="75cafe6b-2f2a-469b-85c4-eec3b9c972ba" providerId="ADAL" clId="{F17CDA02-90FA-4D24-97F8-535DD3CEBAF4}" dt="2019-06-22T10:37:23.149" v="2421" actId="478"/>
          <ac:spMkLst>
            <pc:docMk/>
            <pc:sldMk cId="1031115120" sldId="273"/>
            <ac:spMk id="54" creationId="{9245AF7A-98BE-4B6C-A683-32562887D8E0}"/>
          </ac:spMkLst>
        </pc:spChg>
        <pc:spChg chg="del">
          <ac:chgData name="Thomas Stensitzki" userId="75cafe6b-2f2a-469b-85c4-eec3b9c972ba" providerId="ADAL" clId="{F17CDA02-90FA-4D24-97F8-535DD3CEBAF4}" dt="2019-06-22T10:37:23.149" v="2421" actId="478"/>
          <ac:spMkLst>
            <pc:docMk/>
            <pc:sldMk cId="1031115120" sldId="273"/>
            <ac:spMk id="55" creationId="{E1803EAA-F17E-430A-BFF7-D55AFAF73B48}"/>
          </ac:spMkLst>
        </pc:spChg>
        <pc:spChg chg="del">
          <ac:chgData name="Thomas Stensitzki" userId="75cafe6b-2f2a-469b-85c4-eec3b9c972ba" providerId="ADAL" clId="{F17CDA02-90FA-4D24-97F8-535DD3CEBAF4}" dt="2019-06-22T10:37:23.149" v="2421" actId="478"/>
          <ac:spMkLst>
            <pc:docMk/>
            <pc:sldMk cId="1031115120" sldId="273"/>
            <ac:spMk id="60" creationId="{060A644C-0CC7-4799-A77E-44931862FF9A}"/>
          </ac:spMkLst>
        </pc:spChg>
        <pc:spChg chg="del">
          <ac:chgData name="Thomas Stensitzki" userId="75cafe6b-2f2a-469b-85c4-eec3b9c972ba" providerId="ADAL" clId="{F17CDA02-90FA-4D24-97F8-535DD3CEBAF4}" dt="2019-06-22T10:37:23.149" v="2421" actId="478"/>
          <ac:spMkLst>
            <pc:docMk/>
            <pc:sldMk cId="1031115120" sldId="273"/>
            <ac:spMk id="61" creationId="{DBAC3D47-63E1-42CB-9A3C-9F7CC264BDAB}"/>
          </ac:spMkLst>
        </pc:spChg>
        <pc:spChg chg="add mod">
          <ac:chgData name="Thomas Stensitzki" userId="75cafe6b-2f2a-469b-85c4-eec3b9c972ba" providerId="ADAL" clId="{F17CDA02-90FA-4D24-97F8-535DD3CEBAF4}" dt="2019-06-22T10:52:06.082" v="2923" actId="164"/>
          <ac:spMkLst>
            <pc:docMk/>
            <pc:sldMk cId="1031115120" sldId="273"/>
            <ac:spMk id="63" creationId="{11882EA5-52FE-4DF7-B4A0-B4A09AF11790}"/>
          </ac:spMkLst>
        </pc:spChg>
        <pc:spChg chg="add mod">
          <ac:chgData name="Thomas Stensitzki" userId="75cafe6b-2f2a-469b-85c4-eec3b9c972ba" providerId="ADAL" clId="{F17CDA02-90FA-4D24-97F8-535DD3CEBAF4}" dt="2019-06-22T10:52:06.082" v="2923" actId="164"/>
          <ac:spMkLst>
            <pc:docMk/>
            <pc:sldMk cId="1031115120" sldId="273"/>
            <ac:spMk id="64" creationId="{38493FA9-31EB-45E2-A20F-6DECCA2A6BAC}"/>
          </ac:spMkLst>
        </pc:spChg>
        <pc:spChg chg="add mod">
          <ac:chgData name="Thomas Stensitzki" userId="75cafe6b-2f2a-469b-85c4-eec3b9c972ba" providerId="ADAL" clId="{F17CDA02-90FA-4D24-97F8-535DD3CEBAF4}" dt="2019-06-22T10:48:58.866" v="2868" actId="164"/>
          <ac:spMkLst>
            <pc:docMk/>
            <pc:sldMk cId="1031115120" sldId="273"/>
            <ac:spMk id="65" creationId="{1AB42363-81F4-4E79-83BA-F5BA6B4CCDB6}"/>
          </ac:spMkLst>
        </pc:spChg>
        <pc:spChg chg="add mod">
          <ac:chgData name="Thomas Stensitzki" userId="75cafe6b-2f2a-469b-85c4-eec3b9c972ba" providerId="ADAL" clId="{F17CDA02-90FA-4D24-97F8-535DD3CEBAF4}" dt="2019-06-22T10:48:47.675" v="2866" actId="164"/>
          <ac:spMkLst>
            <pc:docMk/>
            <pc:sldMk cId="1031115120" sldId="273"/>
            <ac:spMk id="66" creationId="{5A74A076-6999-4911-A23E-60642380EA8D}"/>
          </ac:spMkLst>
        </pc:spChg>
        <pc:spChg chg="add mod">
          <ac:chgData name="Thomas Stensitzki" userId="75cafe6b-2f2a-469b-85c4-eec3b9c972ba" providerId="ADAL" clId="{F17CDA02-90FA-4D24-97F8-535DD3CEBAF4}" dt="2019-06-23T20:15:57.652" v="9707" actId="20577"/>
          <ac:spMkLst>
            <pc:docMk/>
            <pc:sldMk cId="1031115120" sldId="273"/>
            <ac:spMk id="67" creationId="{45D5DE1D-1432-498A-BD22-19F6C8E84186}"/>
          </ac:spMkLst>
        </pc:spChg>
        <pc:spChg chg="add mod">
          <ac:chgData name="Thomas Stensitzki" userId="75cafe6b-2f2a-469b-85c4-eec3b9c972ba" providerId="ADAL" clId="{F17CDA02-90FA-4D24-97F8-535DD3CEBAF4}" dt="2019-06-22T10:48:58.866" v="2868" actId="164"/>
          <ac:spMkLst>
            <pc:docMk/>
            <pc:sldMk cId="1031115120" sldId="273"/>
            <ac:spMk id="68" creationId="{C414C193-321C-4D6A-AB9E-BE48F8D12736}"/>
          </ac:spMkLst>
        </pc:spChg>
        <pc:spChg chg="add mod">
          <ac:chgData name="Thomas Stensitzki" userId="75cafe6b-2f2a-469b-85c4-eec3b9c972ba" providerId="ADAL" clId="{F17CDA02-90FA-4D24-97F8-535DD3CEBAF4}" dt="2019-06-22T10:48:47.675" v="2866" actId="164"/>
          <ac:spMkLst>
            <pc:docMk/>
            <pc:sldMk cId="1031115120" sldId="273"/>
            <ac:spMk id="69" creationId="{DE777264-A4EE-45C3-A618-B30C9BC6595F}"/>
          </ac:spMkLst>
        </pc:spChg>
        <pc:spChg chg="add mod">
          <ac:chgData name="Thomas Stensitzki" userId="75cafe6b-2f2a-469b-85c4-eec3b9c972ba" providerId="ADAL" clId="{F17CDA02-90FA-4D24-97F8-535DD3CEBAF4}" dt="2019-06-22T10:48:47.675" v="2866" actId="164"/>
          <ac:spMkLst>
            <pc:docMk/>
            <pc:sldMk cId="1031115120" sldId="273"/>
            <ac:spMk id="70" creationId="{0BBB3295-C35D-4A29-92EB-4012B5718572}"/>
          </ac:spMkLst>
        </pc:spChg>
        <pc:spChg chg="add mod">
          <ac:chgData name="Thomas Stensitzki" userId="75cafe6b-2f2a-469b-85c4-eec3b9c972ba" providerId="ADAL" clId="{F17CDA02-90FA-4D24-97F8-535DD3CEBAF4}" dt="2019-06-22T10:48:58.866" v="2868" actId="164"/>
          <ac:spMkLst>
            <pc:docMk/>
            <pc:sldMk cId="1031115120" sldId="273"/>
            <ac:spMk id="71" creationId="{F9CC27E4-7775-4D4A-AD0B-2FF23D0D22FD}"/>
          </ac:spMkLst>
        </pc:spChg>
        <pc:spChg chg="add mod">
          <ac:chgData name="Thomas Stensitzki" userId="75cafe6b-2f2a-469b-85c4-eec3b9c972ba" providerId="ADAL" clId="{F17CDA02-90FA-4D24-97F8-535DD3CEBAF4}" dt="2019-06-22T10:48:33.049" v="2864" actId="164"/>
          <ac:spMkLst>
            <pc:docMk/>
            <pc:sldMk cId="1031115120" sldId="273"/>
            <ac:spMk id="74" creationId="{28D563D8-CE46-4642-9D8D-1722F90944B5}"/>
          </ac:spMkLst>
        </pc:spChg>
        <pc:spChg chg="add mod">
          <ac:chgData name="Thomas Stensitzki" userId="75cafe6b-2f2a-469b-85c4-eec3b9c972ba" providerId="ADAL" clId="{F17CDA02-90FA-4D24-97F8-535DD3CEBAF4}" dt="2019-06-22T10:48:33.049" v="2864" actId="164"/>
          <ac:spMkLst>
            <pc:docMk/>
            <pc:sldMk cId="1031115120" sldId="273"/>
            <ac:spMk id="75" creationId="{7B39A762-262B-4B0E-9ECE-A8319304FF4B}"/>
          </ac:spMkLst>
        </pc:spChg>
        <pc:spChg chg="add mod">
          <ac:chgData name="Thomas Stensitzki" userId="75cafe6b-2f2a-469b-85c4-eec3b9c972ba" providerId="ADAL" clId="{F17CDA02-90FA-4D24-97F8-535DD3CEBAF4}" dt="2019-06-22T10:48:33.049" v="2864" actId="164"/>
          <ac:spMkLst>
            <pc:docMk/>
            <pc:sldMk cId="1031115120" sldId="273"/>
            <ac:spMk id="76" creationId="{7D32A4B8-C382-4A17-8DA0-6279E0E36D71}"/>
          </ac:spMkLst>
        </pc:spChg>
        <pc:spChg chg="add mod">
          <ac:chgData name="Thomas Stensitzki" userId="75cafe6b-2f2a-469b-85c4-eec3b9c972ba" providerId="ADAL" clId="{F17CDA02-90FA-4D24-97F8-535DD3CEBAF4}" dt="2019-06-22T10:49:18.861" v="2872" actId="164"/>
          <ac:spMkLst>
            <pc:docMk/>
            <pc:sldMk cId="1031115120" sldId="273"/>
            <ac:spMk id="78" creationId="{E685B61C-4924-45A9-BCDF-C8F908D2A777}"/>
          </ac:spMkLst>
        </pc:spChg>
        <pc:spChg chg="add mod">
          <ac:chgData name="Thomas Stensitzki" userId="75cafe6b-2f2a-469b-85c4-eec3b9c972ba" providerId="ADAL" clId="{F17CDA02-90FA-4D24-97F8-535DD3CEBAF4}" dt="2019-06-22T10:49:18.861" v="2872" actId="164"/>
          <ac:spMkLst>
            <pc:docMk/>
            <pc:sldMk cId="1031115120" sldId="273"/>
            <ac:spMk id="79" creationId="{FE5F6814-2192-4657-9CDD-8847E51956CA}"/>
          </ac:spMkLst>
        </pc:spChg>
        <pc:spChg chg="add mod">
          <ac:chgData name="Thomas Stensitzki" userId="75cafe6b-2f2a-469b-85c4-eec3b9c972ba" providerId="ADAL" clId="{F17CDA02-90FA-4D24-97F8-535DD3CEBAF4}" dt="2019-06-22T10:49:18.861" v="2872" actId="164"/>
          <ac:spMkLst>
            <pc:docMk/>
            <pc:sldMk cId="1031115120" sldId="273"/>
            <ac:spMk id="80" creationId="{17F2415A-8382-4958-9F37-EA422DD52254}"/>
          </ac:spMkLst>
        </pc:spChg>
        <pc:spChg chg="add mod">
          <ac:chgData name="Thomas Stensitzki" userId="75cafe6b-2f2a-469b-85c4-eec3b9c972ba" providerId="ADAL" clId="{F17CDA02-90FA-4D24-97F8-535DD3CEBAF4}" dt="2019-06-23T20:15:45.507" v="9703"/>
          <ac:spMkLst>
            <pc:docMk/>
            <pc:sldMk cId="1031115120" sldId="273"/>
            <ac:spMk id="82" creationId="{C8B49E3B-A2A6-4AA5-BA81-2C3DBE65F185}"/>
          </ac:spMkLst>
        </pc:spChg>
        <pc:grpChg chg="del">
          <ac:chgData name="Thomas Stensitzki" userId="75cafe6b-2f2a-469b-85c4-eec3b9c972ba" providerId="ADAL" clId="{F17CDA02-90FA-4D24-97F8-535DD3CEBAF4}" dt="2019-06-22T10:37:23.149" v="2421" actId="478"/>
          <ac:grpSpMkLst>
            <pc:docMk/>
            <pc:sldMk cId="1031115120" sldId="273"/>
            <ac:grpSpMk id="2" creationId="{BF4BBEDA-A702-410B-9960-CD15ABC22EA9}"/>
          </ac:grpSpMkLst>
        </pc:grpChg>
        <pc:grpChg chg="del">
          <ac:chgData name="Thomas Stensitzki" userId="75cafe6b-2f2a-469b-85c4-eec3b9c972ba" providerId="ADAL" clId="{F17CDA02-90FA-4D24-97F8-535DD3CEBAF4}" dt="2019-06-22T10:37:23.149" v="2421" actId="478"/>
          <ac:grpSpMkLst>
            <pc:docMk/>
            <pc:sldMk cId="1031115120" sldId="273"/>
            <ac:grpSpMk id="3" creationId="{3B539682-FE35-4A47-9017-5CB1026EC30A}"/>
          </ac:grpSpMkLst>
        </pc:grpChg>
        <pc:grpChg chg="del">
          <ac:chgData name="Thomas Stensitzki" userId="75cafe6b-2f2a-469b-85c4-eec3b9c972ba" providerId="ADAL" clId="{F17CDA02-90FA-4D24-97F8-535DD3CEBAF4}" dt="2019-06-22T10:37:23.149" v="2421" actId="478"/>
          <ac:grpSpMkLst>
            <pc:docMk/>
            <pc:sldMk cId="1031115120" sldId="273"/>
            <ac:grpSpMk id="7" creationId="{8DE85229-B5C3-441B-80F9-568EAD28AD2E}"/>
          </ac:grpSpMkLst>
        </pc:grpChg>
        <pc:grpChg chg="del">
          <ac:chgData name="Thomas Stensitzki" userId="75cafe6b-2f2a-469b-85c4-eec3b9c972ba" providerId="ADAL" clId="{F17CDA02-90FA-4D24-97F8-535DD3CEBAF4}" dt="2019-06-22T10:37:23.149" v="2421" actId="478"/>
          <ac:grpSpMkLst>
            <pc:docMk/>
            <pc:sldMk cId="1031115120" sldId="273"/>
            <ac:grpSpMk id="8" creationId="{C05D71FE-2896-452E-9902-67184406A48D}"/>
          </ac:grpSpMkLst>
        </pc:grpChg>
        <pc:grpChg chg="del">
          <ac:chgData name="Thomas Stensitzki" userId="75cafe6b-2f2a-469b-85c4-eec3b9c972ba" providerId="ADAL" clId="{F17CDA02-90FA-4D24-97F8-535DD3CEBAF4}" dt="2019-06-22T10:37:23.149" v="2421" actId="478"/>
          <ac:grpSpMkLst>
            <pc:docMk/>
            <pc:sldMk cId="1031115120" sldId="273"/>
            <ac:grpSpMk id="9" creationId="{F3E267AE-397C-406C-B7EE-8A583560DC07}"/>
          </ac:grpSpMkLst>
        </pc:grpChg>
        <pc:grpChg chg="del">
          <ac:chgData name="Thomas Stensitzki" userId="75cafe6b-2f2a-469b-85c4-eec3b9c972ba" providerId="ADAL" clId="{F17CDA02-90FA-4D24-97F8-535DD3CEBAF4}" dt="2019-06-22T10:37:23.149" v="2421" actId="478"/>
          <ac:grpSpMkLst>
            <pc:docMk/>
            <pc:sldMk cId="1031115120" sldId="273"/>
            <ac:grpSpMk id="10" creationId="{7EFC3DAD-BF7D-47CB-B748-4C9F8351987D}"/>
          </ac:grpSpMkLst>
        </pc:grpChg>
        <pc:grpChg chg="add mod">
          <ac:chgData name="Thomas Stensitzki" userId="75cafe6b-2f2a-469b-85c4-eec3b9c972ba" providerId="ADAL" clId="{F17CDA02-90FA-4D24-97F8-535DD3CEBAF4}" dt="2019-06-22T10:51:07.270" v="2915" actId="465"/>
          <ac:grpSpMkLst>
            <pc:docMk/>
            <pc:sldMk cId="1031115120" sldId="273"/>
            <ac:grpSpMk id="27" creationId="{D20C0EAE-B679-4C13-9EF3-BADF3E2805F3}"/>
          </ac:grpSpMkLst>
        </pc:grpChg>
        <pc:grpChg chg="add mod">
          <ac:chgData name="Thomas Stensitzki" userId="75cafe6b-2f2a-469b-85c4-eec3b9c972ba" providerId="ADAL" clId="{F17CDA02-90FA-4D24-97F8-535DD3CEBAF4}" dt="2019-06-22T10:51:07.270" v="2915" actId="465"/>
          <ac:grpSpMkLst>
            <pc:docMk/>
            <pc:sldMk cId="1031115120" sldId="273"/>
            <ac:grpSpMk id="28" creationId="{70835AB2-E525-4A63-B771-DA3E3381CC29}"/>
          </ac:grpSpMkLst>
        </pc:grpChg>
        <pc:grpChg chg="add mod">
          <ac:chgData name="Thomas Stensitzki" userId="75cafe6b-2f2a-469b-85c4-eec3b9c972ba" providerId="ADAL" clId="{F17CDA02-90FA-4D24-97F8-535DD3CEBAF4}" dt="2019-06-22T10:51:07.270" v="2915" actId="465"/>
          <ac:grpSpMkLst>
            <pc:docMk/>
            <pc:sldMk cId="1031115120" sldId="273"/>
            <ac:grpSpMk id="29" creationId="{9A7D2918-CC77-47AD-9110-894E7AE285D3}"/>
          </ac:grpSpMkLst>
        </pc:grpChg>
        <pc:grpChg chg="add mod">
          <ac:chgData name="Thomas Stensitzki" userId="75cafe6b-2f2a-469b-85c4-eec3b9c972ba" providerId="ADAL" clId="{F17CDA02-90FA-4D24-97F8-535DD3CEBAF4}" dt="2019-06-22T10:51:07.270" v="2915" actId="465"/>
          <ac:grpSpMkLst>
            <pc:docMk/>
            <pc:sldMk cId="1031115120" sldId="273"/>
            <ac:grpSpMk id="83" creationId="{5AEBAD17-80B6-4D2D-90DB-3F7E94DF09A2}"/>
          </ac:grpSpMkLst>
        </pc:grpChg>
        <pc:grpChg chg="add mod">
          <ac:chgData name="Thomas Stensitzki" userId="75cafe6b-2f2a-469b-85c4-eec3b9c972ba" providerId="ADAL" clId="{F17CDA02-90FA-4D24-97F8-535DD3CEBAF4}" dt="2019-06-22T10:52:06.082" v="2923" actId="164"/>
          <ac:grpSpMkLst>
            <pc:docMk/>
            <pc:sldMk cId="1031115120" sldId="273"/>
            <ac:grpSpMk id="84" creationId="{3B26AE30-B13D-4591-9ADD-A657DE9A9B69}"/>
          </ac:grpSpMkLst>
        </pc:grpChg>
        <pc:graphicFrameChg chg="add del mod">
          <ac:chgData name="Thomas Stensitzki" userId="75cafe6b-2f2a-469b-85c4-eec3b9c972ba" providerId="ADAL" clId="{F17CDA02-90FA-4D24-97F8-535DD3CEBAF4}" dt="2019-06-22T10:43:42.107" v="2591" actId="478"/>
          <ac:graphicFrameMkLst>
            <pc:docMk/>
            <pc:sldMk cId="1031115120" sldId="273"/>
            <ac:graphicFrameMk id="26" creationId="{37710078-2A0D-4784-AFEC-2119F4A52AA1}"/>
          </ac:graphicFrameMkLst>
        </pc:graphicFrameChg>
        <pc:picChg chg="mod">
          <ac:chgData name="Thomas Stensitzki" userId="75cafe6b-2f2a-469b-85c4-eec3b9c972ba" providerId="ADAL" clId="{F17CDA02-90FA-4D24-97F8-535DD3CEBAF4}" dt="2019-06-22T10:49:06.627" v="2871" actId="1076"/>
          <ac:picMkLst>
            <pc:docMk/>
            <pc:sldMk cId="1031115120" sldId="273"/>
            <ac:picMk id="5" creationId="{00000000-0000-0000-0000-000000000000}"/>
          </ac:picMkLst>
        </pc:picChg>
        <pc:picChg chg="add mod">
          <ac:chgData name="Thomas Stensitzki" userId="75cafe6b-2f2a-469b-85c4-eec3b9c972ba" providerId="ADAL" clId="{F17CDA02-90FA-4D24-97F8-535DD3CEBAF4}" dt="2019-06-22T10:52:06.082" v="2923" actId="164"/>
          <ac:picMkLst>
            <pc:docMk/>
            <pc:sldMk cId="1031115120" sldId="273"/>
            <ac:picMk id="62" creationId="{C2897466-27B1-4D72-8BF8-761F710D3487}"/>
          </ac:picMkLst>
        </pc:picChg>
        <pc:cxnChg chg="add mod">
          <ac:chgData name="Thomas Stensitzki" userId="75cafe6b-2f2a-469b-85c4-eec3b9c972ba" providerId="ADAL" clId="{F17CDA02-90FA-4D24-97F8-535DD3CEBAF4}" dt="2019-06-22T10:48:47.675" v="2866" actId="164"/>
          <ac:cxnSpMkLst>
            <pc:docMk/>
            <pc:sldMk cId="1031115120" sldId="273"/>
            <ac:cxnSpMk id="72" creationId="{140B0E6A-DCEC-48FA-ABD2-03BAD887381C}"/>
          </ac:cxnSpMkLst>
        </pc:cxnChg>
        <pc:cxnChg chg="add mod">
          <ac:chgData name="Thomas Stensitzki" userId="75cafe6b-2f2a-469b-85c4-eec3b9c972ba" providerId="ADAL" clId="{F17CDA02-90FA-4D24-97F8-535DD3CEBAF4}" dt="2019-06-22T10:48:58.866" v="2868" actId="164"/>
          <ac:cxnSpMkLst>
            <pc:docMk/>
            <pc:sldMk cId="1031115120" sldId="273"/>
            <ac:cxnSpMk id="73" creationId="{D8A196C8-258B-4E13-95A2-F6F971BD7313}"/>
          </ac:cxnSpMkLst>
        </pc:cxnChg>
        <pc:cxnChg chg="add mod">
          <ac:chgData name="Thomas Stensitzki" userId="75cafe6b-2f2a-469b-85c4-eec3b9c972ba" providerId="ADAL" clId="{F17CDA02-90FA-4D24-97F8-535DD3CEBAF4}" dt="2019-06-22T10:48:33.049" v="2864" actId="164"/>
          <ac:cxnSpMkLst>
            <pc:docMk/>
            <pc:sldMk cId="1031115120" sldId="273"/>
            <ac:cxnSpMk id="77" creationId="{64B8F124-8FEB-4313-BE1A-6FD6C22D3380}"/>
          </ac:cxnSpMkLst>
        </pc:cxnChg>
        <pc:cxnChg chg="add mod">
          <ac:chgData name="Thomas Stensitzki" userId="75cafe6b-2f2a-469b-85c4-eec3b9c972ba" providerId="ADAL" clId="{F17CDA02-90FA-4D24-97F8-535DD3CEBAF4}" dt="2019-06-22T10:49:18.861" v="2872" actId="164"/>
          <ac:cxnSpMkLst>
            <pc:docMk/>
            <pc:sldMk cId="1031115120" sldId="273"/>
            <ac:cxnSpMk id="81" creationId="{EDB6050E-4BFE-4B52-A23B-34916BBE23CA}"/>
          </ac:cxnSpMkLst>
        </pc:cxnChg>
      </pc:sldChg>
      <pc:sldChg chg="delSp modSp add">
        <pc:chgData name="Thomas Stensitzki" userId="75cafe6b-2f2a-469b-85c4-eec3b9c972ba" providerId="ADAL" clId="{F17CDA02-90FA-4D24-97F8-535DD3CEBAF4}" dt="2019-06-22T14:43:19.834" v="2937" actId="478"/>
        <pc:sldMkLst>
          <pc:docMk/>
          <pc:sldMk cId="3686082358" sldId="274"/>
        </pc:sldMkLst>
        <pc:spChg chg="mod">
          <ac:chgData name="Thomas Stensitzki" userId="75cafe6b-2f2a-469b-85c4-eec3b9c972ba" providerId="ADAL" clId="{F17CDA02-90FA-4D24-97F8-535DD3CEBAF4}" dt="2019-06-22T10:55:04.430" v="2934" actId="27636"/>
          <ac:spMkLst>
            <pc:docMk/>
            <pc:sldMk cId="3686082358" sldId="274"/>
            <ac:spMk id="2" creationId="{00000000-0000-0000-0000-000000000000}"/>
          </ac:spMkLst>
        </pc:spChg>
        <pc:spChg chg="del">
          <ac:chgData name="Thomas Stensitzki" userId="75cafe6b-2f2a-469b-85c4-eec3b9c972ba" providerId="ADAL" clId="{F17CDA02-90FA-4D24-97F8-535DD3CEBAF4}" dt="2019-06-22T14:43:19.834" v="2937" actId="478"/>
          <ac:spMkLst>
            <pc:docMk/>
            <pc:sldMk cId="3686082358" sldId="274"/>
            <ac:spMk id="8" creationId="{7C08ABE5-F255-4657-9558-C1FEBA17B443}"/>
          </ac:spMkLst>
        </pc:spChg>
      </pc:sldChg>
      <pc:sldChg chg="addSp delSp modSp add ord delAnim modAnim">
        <pc:chgData name="Thomas Stensitzki" userId="75cafe6b-2f2a-469b-85c4-eec3b9c972ba" providerId="ADAL" clId="{F17CDA02-90FA-4D24-97F8-535DD3CEBAF4}" dt="2019-06-23T20:18:54.582" v="9808" actId="255"/>
        <pc:sldMkLst>
          <pc:docMk/>
          <pc:sldMk cId="4180928356" sldId="275"/>
        </pc:sldMkLst>
        <pc:spChg chg="mod">
          <ac:chgData name="Thomas Stensitzki" userId="75cafe6b-2f2a-469b-85c4-eec3b9c972ba" providerId="ADAL" clId="{F17CDA02-90FA-4D24-97F8-535DD3CEBAF4}" dt="2019-06-22T14:44:41.755" v="2944" actId="27636"/>
          <ac:spMkLst>
            <pc:docMk/>
            <pc:sldMk cId="4180928356" sldId="275"/>
            <ac:spMk id="14" creationId="{F2CD2A51-0F8F-4617-BD22-C4A2B0C6256C}"/>
          </ac:spMkLst>
        </pc:spChg>
        <pc:spChg chg="add mod">
          <ac:chgData name="Thomas Stensitzki" userId="75cafe6b-2f2a-469b-85c4-eec3b9c972ba" providerId="ADAL" clId="{F17CDA02-90FA-4D24-97F8-535DD3CEBAF4}" dt="2019-06-23T20:18:54.582" v="9808" actId="255"/>
          <ac:spMkLst>
            <pc:docMk/>
            <pc:sldMk cId="4180928356" sldId="275"/>
            <ac:spMk id="24" creationId="{FF69082D-05A8-40BE-9FCC-65C0EC46F07E}"/>
          </ac:spMkLst>
        </pc:spChg>
        <pc:spChg chg="del">
          <ac:chgData name="Thomas Stensitzki" userId="75cafe6b-2f2a-469b-85c4-eec3b9c972ba" providerId="ADAL" clId="{F17CDA02-90FA-4D24-97F8-535DD3CEBAF4}" dt="2019-06-22T14:44:47.676" v="2946" actId="478"/>
          <ac:spMkLst>
            <pc:docMk/>
            <pc:sldMk cId="4180928356" sldId="275"/>
            <ac:spMk id="82" creationId="{C8B49E3B-A2A6-4AA5-BA81-2C3DBE65F185}"/>
          </ac:spMkLst>
        </pc:spChg>
        <pc:grpChg chg="add mod">
          <ac:chgData name="Thomas Stensitzki" userId="75cafe6b-2f2a-469b-85c4-eec3b9c972ba" providerId="ADAL" clId="{F17CDA02-90FA-4D24-97F8-535DD3CEBAF4}" dt="2019-06-23T19:41:44.814" v="9011" actId="164"/>
          <ac:grpSpMkLst>
            <pc:docMk/>
            <pc:sldMk cId="4180928356" sldId="275"/>
            <ac:grpSpMk id="22" creationId="{B7AE4305-2E53-4479-BA57-DFA60B676EAC}"/>
          </ac:grpSpMkLst>
        </pc:grpChg>
        <pc:grpChg chg="del">
          <ac:chgData name="Thomas Stensitzki" userId="75cafe6b-2f2a-469b-85c4-eec3b9c972ba" providerId="ADAL" clId="{F17CDA02-90FA-4D24-97F8-535DD3CEBAF4}" dt="2019-06-22T14:44:47.676" v="2946" actId="478"/>
          <ac:grpSpMkLst>
            <pc:docMk/>
            <pc:sldMk cId="4180928356" sldId="275"/>
            <ac:grpSpMk id="27" creationId="{D20C0EAE-B679-4C13-9EF3-BADF3E2805F3}"/>
          </ac:grpSpMkLst>
        </pc:grpChg>
        <pc:grpChg chg="del">
          <ac:chgData name="Thomas Stensitzki" userId="75cafe6b-2f2a-469b-85c4-eec3b9c972ba" providerId="ADAL" clId="{F17CDA02-90FA-4D24-97F8-535DD3CEBAF4}" dt="2019-06-22T14:44:47.676" v="2946" actId="478"/>
          <ac:grpSpMkLst>
            <pc:docMk/>
            <pc:sldMk cId="4180928356" sldId="275"/>
            <ac:grpSpMk id="28" creationId="{70835AB2-E525-4A63-B771-DA3E3381CC29}"/>
          </ac:grpSpMkLst>
        </pc:grpChg>
        <pc:grpChg chg="del">
          <ac:chgData name="Thomas Stensitzki" userId="75cafe6b-2f2a-469b-85c4-eec3b9c972ba" providerId="ADAL" clId="{F17CDA02-90FA-4D24-97F8-535DD3CEBAF4}" dt="2019-06-22T14:44:47.676" v="2946" actId="478"/>
          <ac:grpSpMkLst>
            <pc:docMk/>
            <pc:sldMk cId="4180928356" sldId="275"/>
            <ac:grpSpMk id="29" creationId="{9A7D2918-CC77-47AD-9110-894E7AE285D3}"/>
          </ac:grpSpMkLst>
        </pc:grpChg>
        <pc:grpChg chg="add mod">
          <ac:chgData name="Thomas Stensitzki" userId="75cafe6b-2f2a-469b-85c4-eec3b9c972ba" providerId="ADAL" clId="{F17CDA02-90FA-4D24-97F8-535DD3CEBAF4}" dt="2019-06-23T19:50:17.531" v="9503" actId="164"/>
          <ac:grpSpMkLst>
            <pc:docMk/>
            <pc:sldMk cId="4180928356" sldId="275"/>
            <ac:grpSpMk id="42" creationId="{15EADBFF-D3F6-4036-A407-C241B1589D8F}"/>
          </ac:grpSpMkLst>
        </pc:grpChg>
        <pc:grpChg chg="del">
          <ac:chgData name="Thomas Stensitzki" userId="75cafe6b-2f2a-469b-85c4-eec3b9c972ba" providerId="ADAL" clId="{F17CDA02-90FA-4D24-97F8-535DD3CEBAF4}" dt="2019-06-22T14:44:47.676" v="2946" actId="478"/>
          <ac:grpSpMkLst>
            <pc:docMk/>
            <pc:sldMk cId="4180928356" sldId="275"/>
            <ac:grpSpMk id="83" creationId="{5AEBAD17-80B6-4D2D-90DB-3F7E94DF09A2}"/>
          </ac:grpSpMkLst>
        </pc:grpChg>
        <pc:grpChg chg="del">
          <ac:chgData name="Thomas Stensitzki" userId="75cafe6b-2f2a-469b-85c4-eec3b9c972ba" providerId="ADAL" clId="{F17CDA02-90FA-4D24-97F8-535DD3CEBAF4}" dt="2019-06-22T14:44:44.178" v="2945" actId="478"/>
          <ac:grpSpMkLst>
            <pc:docMk/>
            <pc:sldMk cId="4180928356" sldId="275"/>
            <ac:grpSpMk id="84" creationId="{3B26AE30-B13D-4591-9ADD-A657DE9A9B69}"/>
          </ac:grpSpMkLst>
        </pc:grpChg>
        <pc:picChg chg="add mod">
          <ac:chgData name="Thomas Stensitzki" userId="75cafe6b-2f2a-469b-85c4-eec3b9c972ba" providerId="ADAL" clId="{F17CDA02-90FA-4D24-97F8-535DD3CEBAF4}" dt="2019-06-23T19:41:44.814" v="9011" actId="164"/>
          <ac:picMkLst>
            <pc:docMk/>
            <pc:sldMk cId="4180928356" sldId="275"/>
            <ac:picMk id="2" creationId="{440DFEC3-81F2-44B2-84B8-5E3DCC6FB917}"/>
          </ac:picMkLst>
        </pc:picChg>
        <pc:picChg chg="add del">
          <ac:chgData name="Thomas Stensitzki" userId="75cafe6b-2f2a-469b-85c4-eec3b9c972ba" providerId="ADAL" clId="{F17CDA02-90FA-4D24-97F8-535DD3CEBAF4}" dt="2019-06-23T19:37:00.843" v="8982"/>
          <ac:picMkLst>
            <pc:docMk/>
            <pc:sldMk cId="4180928356" sldId="275"/>
            <ac:picMk id="3" creationId="{80A8A6A0-29E4-4DD4-AC00-FBCA7402DA53}"/>
          </ac:picMkLst>
        </pc:picChg>
        <pc:picChg chg="add del mod">
          <ac:chgData name="Thomas Stensitzki" userId="75cafe6b-2f2a-469b-85c4-eec3b9c972ba" providerId="ADAL" clId="{F17CDA02-90FA-4D24-97F8-535DD3CEBAF4}" dt="2019-06-23T19:37:42.528" v="8993" actId="478"/>
          <ac:picMkLst>
            <pc:docMk/>
            <pc:sldMk cId="4180928356" sldId="275"/>
            <ac:picMk id="7" creationId="{C3160193-1F18-4CA8-A5C6-903325DF0CA5}"/>
          </ac:picMkLst>
        </pc:picChg>
        <pc:picChg chg="add del mod">
          <ac:chgData name="Thomas Stensitzki" userId="75cafe6b-2f2a-469b-85c4-eec3b9c972ba" providerId="ADAL" clId="{F17CDA02-90FA-4D24-97F8-535DD3CEBAF4}" dt="2019-06-23T19:37:43.226" v="8994" actId="478"/>
          <ac:picMkLst>
            <pc:docMk/>
            <pc:sldMk cId="4180928356" sldId="275"/>
            <ac:picMk id="8" creationId="{6EC43EDD-D214-420F-9D21-994950078371}"/>
          </ac:picMkLst>
        </pc:picChg>
        <pc:picChg chg="add mod">
          <ac:chgData name="Thomas Stensitzki" userId="75cafe6b-2f2a-469b-85c4-eec3b9c972ba" providerId="ADAL" clId="{F17CDA02-90FA-4D24-97F8-535DD3CEBAF4}" dt="2019-06-23T19:50:17.531" v="9503" actId="164"/>
          <ac:picMkLst>
            <pc:docMk/>
            <pc:sldMk cId="4180928356" sldId="275"/>
            <ac:picMk id="9" creationId="{A16B9284-6FC7-4CC2-81C6-6E5353B3D944}"/>
          </ac:picMkLst>
        </pc:picChg>
        <pc:picChg chg="add del mod">
          <ac:chgData name="Thomas Stensitzki" userId="75cafe6b-2f2a-469b-85c4-eec3b9c972ba" providerId="ADAL" clId="{F17CDA02-90FA-4D24-97F8-535DD3CEBAF4}" dt="2019-06-23T19:37:44.410" v="8995" actId="478"/>
          <ac:picMkLst>
            <pc:docMk/>
            <pc:sldMk cId="4180928356" sldId="275"/>
            <ac:picMk id="10" creationId="{EE3ADB06-D22B-4CD1-89A3-5F5D8D6542E2}"/>
          </ac:picMkLst>
        </pc:picChg>
        <pc:picChg chg="add mod">
          <ac:chgData name="Thomas Stensitzki" userId="75cafe6b-2f2a-469b-85c4-eec3b9c972ba" providerId="ADAL" clId="{F17CDA02-90FA-4D24-97F8-535DD3CEBAF4}" dt="2019-06-23T19:50:17.531" v="9503" actId="164"/>
          <ac:picMkLst>
            <pc:docMk/>
            <pc:sldMk cId="4180928356" sldId="275"/>
            <ac:picMk id="11" creationId="{576EC531-DB65-47FC-9EB7-BEBAF872B4A6}"/>
          </ac:picMkLst>
        </pc:picChg>
        <pc:picChg chg="add mod">
          <ac:chgData name="Thomas Stensitzki" userId="75cafe6b-2f2a-469b-85c4-eec3b9c972ba" providerId="ADAL" clId="{F17CDA02-90FA-4D24-97F8-535DD3CEBAF4}" dt="2019-06-23T19:50:17.531" v="9503" actId="164"/>
          <ac:picMkLst>
            <pc:docMk/>
            <pc:sldMk cId="4180928356" sldId="275"/>
            <ac:picMk id="16" creationId="{0B33C06D-80C5-4D87-B34F-2F9F7320500B}"/>
          </ac:picMkLst>
        </pc:picChg>
        <pc:picChg chg="add mod">
          <ac:chgData name="Thomas Stensitzki" userId="75cafe6b-2f2a-469b-85c4-eec3b9c972ba" providerId="ADAL" clId="{F17CDA02-90FA-4D24-97F8-535DD3CEBAF4}" dt="2019-06-23T19:50:17.531" v="9503" actId="164"/>
          <ac:picMkLst>
            <pc:docMk/>
            <pc:sldMk cId="4180928356" sldId="275"/>
            <ac:picMk id="17" creationId="{F75229E3-F5C1-4CDB-8B38-3A0395381E78}"/>
          </ac:picMkLst>
        </pc:picChg>
        <pc:picChg chg="add mod">
          <ac:chgData name="Thomas Stensitzki" userId="75cafe6b-2f2a-469b-85c4-eec3b9c972ba" providerId="ADAL" clId="{F17CDA02-90FA-4D24-97F8-535DD3CEBAF4}" dt="2019-06-23T19:50:17.531" v="9503" actId="164"/>
          <ac:picMkLst>
            <pc:docMk/>
            <pc:sldMk cId="4180928356" sldId="275"/>
            <ac:picMk id="18" creationId="{E5CEF050-BE94-4CAF-9DC1-C6BEAA437256}"/>
          </ac:picMkLst>
        </pc:picChg>
        <pc:picChg chg="add mod">
          <ac:chgData name="Thomas Stensitzki" userId="75cafe6b-2f2a-469b-85c4-eec3b9c972ba" providerId="ADAL" clId="{F17CDA02-90FA-4D24-97F8-535DD3CEBAF4}" dt="2019-06-23T19:50:17.531" v="9503" actId="164"/>
          <ac:picMkLst>
            <pc:docMk/>
            <pc:sldMk cId="4180928356" sldId="275"/>
            <ac:picMk id="19" creationId="{09C11F70-D4D3-4304-ABB5-0CF474573899}"/>
          </ac:picMkLst>
        </pc:picChg>
        <pc:picChg chg="add mod">
          <ac:chgData name="Thomas Stensitzki" userId="75cafe6b-2f2a-469b-85c4-eec3b9c972ba" providerId="ADAL" clId="{F17CDA02-90FA-4D24-97F8-535DD3CEBAF4}" dt="2019-06-23T19:50:17.531" v="9503" actId="164"/>
          <ac:picMkLst>
            <pc:docMk/>
            <pc:sldMk cId="4180928356" sldId="275"/>
            <ac:picMk id="20" creationId="{06BEE910-E6C4-4FE5-A6D3-BF9A957FA326}"/>
          </ac:picMkLst>
        </pc:picChg>
        <pc:picChg chg="add mod">
          <ac:chgData name="Thomas Stensitzki" userId="75cafe6b-2f2a-469b-85c4-eec3b9c972ba" providerId="ADAL" clId="{F17CDA02-90FA-4D24-97F8-535DD3CEBAF4}" dt="2019-06-23T19:41:44.814" v="9011" actId="164"/>
          <ac:picMkLst>
            <pc:docMk/>
            <pc:sldMk cId="4180928356" sldId="275"/>
            <ac:picMk id="21" creationId="{0157609B-9D28-489B-959A-A95EDC2A952B}"/>
          </ac:picMkLst>
        </pc:picChg>
        <pc:picChg chg="add mod">
          <ac:chgData name="Thomas Stensitzki" userId="75cafe6b-2f2a-469b-85c4-eec3b9c972ba" providerId="ADAL" clId="{F17CDA02-90FA-4D24-97F8-535DD3CEBAF4}" dt="2019-06-23T19:50:17.531" v="9503" actId="164"/>
          <ac:picMkLst>
            <pc:docMk/>
            <pc:sldMk cId="4180928356" sldId="275"/>
            <ac:picMk id="23" creationId="{3924F572-32DF-40D4-B4CF-7A3DAF851A53}"/>
          </ac:picMkLst>
        </pc:picChg>
        <pc:cxnChg chg="add mod">
          <ac:chgData name="Thomas Stensitzki" userId="75cafe6b-2f2a-469b-85c4-eec3b9c972ba" providerId="ADAL" clId="{F17CDA02-90FA-4D24-97F8-535DD3CEBAF4}" dt="2019-06-23T19:50:17.531" v="9503" actId="164"/>
          <ac:cxnSpMkLst>
            <pc:docMk/>
            <pc:sldMk cId="4180928356" sldId="275"/>
            <ac:cxnSpMk id="26" creationId="{07E7356A-34E4-4C93-BC48-81E44DCC3D13}"/>
          </ac:cxnSpMkLst>
        </pc:cxnChg>
        <pc:cxnChg chg="add mod">
          <ac:chgData name="Thomas Stensitzki" userId="75cafe6b-2f2a-469b-85c4-eec3b9c972ba" providerId="ADAL" clId="{F17CDA02-90FA-4D24-97F8-535DD3CEBAF4}" dt="2019-06-23T19:50:17.531" v="9503" actId="164"/>
          <ac:cxnSpMkLst>
            <pc:docMk/>
            <pc:sldMk cId="4180928356" sldId="275"/>
            <ac:cxnSpMk id="27" creationId="{2D21E491-D536-4326-AB3F-AFBB701BEF58}"/>
          </ac:cxnSpMkLst>
        </pc:cxnChg>
        <pc:cxnChg chg="add mod">
          <ac:chgData name="Thomas Stensitzki" userId="75cafe6b-2f2a-469b-85c4-eec3b9c972ba" providerId="ADAL" clId="{F17CDA02-90FA-4D24-97F8-535DD3CEBAF4}" dt="2019-06-23T19:50:17.531" v="9503" actId="164"/>
          <ac:cxnSpMkLst>
            <pc:docMk/>
            <pc:sldMk cId="4180928356" sldId="275"/>
            <ac:cxnSpMk id="30" creationId="{50F855E6-3E1D-4EA6-BEFE-C5261D8C9B56}"/>
          </ac:cxnSpMkLst>
        </pc:cxnChg>
        <pc:cxnChg chg="add mod">
          <ac:chgData name="Thomas Stensitzki" userId="75cafe6b-2f2a-469b-85c4-eec3b9c972ba" providerId="ADAL" clId="{F17CDA02-90FA-4D24-97F8-535DD3CEBAF4}" dt="2019-06-23T19:50:17.531" v="9503" actId="164"/>
          <ac:cxnSpMkLst>
            <pc:docMk/>
            <pc:sldMk cId="4180928356" sldId="275"/>
            <ac:cxnSpMk id="32" creationId="{ECA0225F-8207-48F8-A59C-BD581BABE0B4}"/>
          </ac:cxnSpMkLst>
        </pc:cxnChg>
        <pc:cxnChg chg="add mod">
          <ac:chgData name="Thomas Stensitzki" userId="75cafe6b-2f2a-469b-85c4-eec3b9c972ba" providerId="ADAL" clId="{F17CDA02-90FA-4D24-97F8-535DD3CEBAF4}" dt="2019-06-23T19:50:17.531" v="9503" actId="164"/>
          <ac:cxnSpMkLst>
            <pc:docMk/>
            <pc:sldMk cId="4180928356" sldId="275"/>
            <ac:cxnSpMk id="34" creationId="{45591359-6CFD-4808-B379-C78BD414DE8F}"/>
          </ac:cxnSpMkLst>
        </pc:cxnChg>
        <pc:cxnChg chg="add mod">
          <ac:chgData name="Thomas Stensitzki" userId="75cafe6b-2f2a-469b-85c4-eec3b9c972ba" providerId="ADAL" clId="{F17CDA02-90FA-4D24-97F8-535DD3CEBAF4}" dt="2019-06-23T19:50:17.531" v="9503" actId="164"/>
          <ac:cxnSpMkLst>
            <pc:docMk/>
            <pc:sldMk cId="4180928356" sldId="275"/>
            <ac:cxnSpMk id="36" creationId="{010B75FB-7537-43C4-AB2C-91B8A7AD1487}"/>
          </ac:cxnSpMkLst>
        </pc:cxnChg>
        <pc:cxnChg chg="add mod">
          <ac:chgData name="Thomas Stensitzki" userId="75cafe6b-2f2a-469b-85c4-eec3b9c972ba" providerId="ADAL" clId="{F17CDA02-90FA-4D24-97F8-535DD3CEBAF4}" dt="2019-06-23T19:50:17.531" v="9503" actId="164"/>
          <ac:cxnSpMkLst>
            <pc:docMk/>
            <pc:sldMk cId="4180928356" sldId="275"/>
            <ac:cxnSpMk id="38" creationId="{1EDEBA4E-DC21-4100-B4A4-D2B265A5EA5D}"/>
          </ac:cxnSpMkLst>
        </pc:cxnChg>
        <pc:cxnChg chg="add mod">
          <ac:chgData name="Thomas Stensitzki" userId="75cafe6b-2f2a-469b-85c4-eec3b9c972ba" providerId="ADAL" clId="{F17CDA02-90FA-4D24-97F8-535DD3CEBAF4}" dt="2019-06-23T19:50:17.531" v="9503" actId="164"/>
          <ac:cxnSpMkLst>
            <pc:docMk/>
            <pc:sldMk cId="4180928356" sldId="275"/>
            <ac:cxnSpMk id="40" creationId="{250C2DDF-8578-4808-A9E2-86D98D2AC013}"/>
          </ac:cxnSpMkLst>
        </pc:cxnChg>
        <pc:cxnChg chg="mod">
          <ac:chgData name="Thomas Stensitzki" userId="75cafe6b-2f2a-469b-85c4-eec3b9c972ba" providerId="ADAL" clId="{F17CDA02-90FA-4D24-97F8-535DD3CEBAF4}" dt="2019-06-22T14:44:47.676" v="2946" actId="478"/>
          <ac:cxnSpMkLst>
            <pc:docMk/>
            <pc:sldMk cId="4180928356" sldId="275"/>
            <ac:cxnSpMk id="72" creationId="{140B0E6A-DCEC-48FA-ABD2-03BAD887381C}"/>
          </ac:cxnSpMkLst>
        </pc:cxnChg>
        <pc:cxnChg chg="mod">
          <ac:chgData name="Thomas Stensitzki" userId="75cafe6b-2f2a-469b-85c4-eec3b9c972ba" providerId="ADAL" clId="{F17CDA02-90FA-4D24-97F8-535DD3CEBAF4}" dt="2019-06-22T14:44:47.676" v="2946" actId="478"/>
          <ac:cxnSpMkLst>
            <pc:docMk/>
            <pc:sldMk cId="4180928356" sldId="275"/>
            <ac:cxnSpMk id="73" creationId="{D8A196C8-258B-4E13-95A2-F6F971BD7313}"/>
          </ac:cxnSpMkLst>
        </pc:cxnChg>
        <pc:cxnChg chg="mod">
          <ac:chgData name="Thomas Stensitzki" userId="75cafe6b-2f2a-469b-85c4-eec3b9c972ba" providerId="ADAL" clId="{F17CDA02-90FA-4D24-97F8-535DD3CEBAF4}" dt="2019-06-22T14:44:47.676" v="2946" actId="478"/>
          <ac:cxnSpMkLst>
            <pc:docMk/>
            <pc:sldMk cId="4180928356" sldId="275"/>
            <ac:cxnSpMk id="77" creationId="{64B8F124-8FEB-4313-BE1A-6FD6C22D3380}"/>
          </ac:cxnSpMkLst>
        </pc:cxnChg>
        <pc:cxnChg chg="mod">
          <ac:chgData name="Thomas Stensitzki" userId="75cafe6b-2f2a-469b-85c4-eec3b9c972ba" providerId="ADAL" clId="{F17CDA02-90FA-4D24-97F8-535DD3CEBAF4}" dt="2019-06-22T14:44:47.676" v="2946" actId="478"/>
          <ac:cxnSpMkLst>
            <pc:docMk/>
            <pc:sldMk cId="4180928356" sldId="275"/>
            <ac:cxnSpMk id="81" creationId="{EDB6050E-4BFE-4B52-A23B-34916BBE23CA}"/>
          </ac:cxnSpMkLst>
        </pc:cxnChg>
      </pc:sldChg>
      <pc:sldChg chg="modSp add">
        <pc:chgData name="Thomas Stensitzki" userId="75cafe6b-2f2a-469b-85c4-eec3b9c972ba" providerId="ADAL" clId="{F17CDA02-90FA-4D24-97F8-535DD3CEBAF4}" dt="2019-06-23T19:34:31.535" v="8977" actId="20577"/>
        <pc:sldMkLst>
          <pc:docMk/>
          <pc:sldMk cId="2585862040" sldId="276"/>
        </pc:sldMkLst>
        <pc:spChg chg="mod">
          <ac:chgData name="Thomas Stensitzki" userId="75cafe6b-2f2a-469b-85c4-eec3b9c972ba" providerId="ADAL" clId="{F17CDA02-90FA-4D24-97F8-535DD3CEBAF4}" dt="2019-06-23T19:34:31.535" v="8977" actId="20577"/>
          <ac:spMkLst>
            <pc:docMk/>
            <pc:sldMk cId="2585862040" sldId="276"/>
            <ac:spMk id="2" creationId="{00000000-0000-0000-0000-000000000000}"/>
          </ac:spMkLst>
        </pc:spChg>
      </pc:sldChg>
      <pc:sldChg chg="addSp modSp add ord">
        <pc:chgData name="Thomas Stensitzki" userId="75cafe6b-2f2a-469b-85c4-eec3b9c972ba" providerId="ADAL" clId="{F17CDA02-90FA-4D24-97F8-535DD3CEBAF4}" dt="2019-06-22T14:47:23.535" v="3000" actId="1076"/>
        <pc:sldMkLst>
          <pc:docMk/>
          <pc:sldMk cId="2626840934" sldId="277"/>
        </pc:sldMkLst>
        <pc:spChg chg="mod">
          <ac:chgData name="Thomas Stensitzki" userId="75cafe6b-2f2a-469b-85c4-eec3b9c972ba" providerId="ADAL" clId="{F17CDA02-90FA-4D24-97F8-535DD3CEBAF4}" dt="2019-06-22T14:47:15.712" v="2998" actId="20577"/>
          <ac:spMkLst>
            <pc:docMk/>
            <pc:sldMk cId="2626840934" sldId="277"/>
            <ac:spMk id="14" creationId="{F2CD2A51-0F8F-4617-BD22-C4A2B0C6256C}"/>
          </ac:spMkLst>
        </pc:spChg>
        <pc:picChg chg="add mod">
          <ac:chgData name="Thomas Stensitzki" userId="75cafe6b-2f2a-469b-85c4-eec3b9c972ba" providerId="ADAL" clId="{F17CDA02-90FA-4D24-97F8-535DD3CEBAF4}" dt="2019-06-22T14:47:23.535" v="3000" actId="1076"/>
          <ac:picMkLst>
            <pc:docMk/>
            <pc:sldMk cId="2626840934" sldId="277"/>
            <ac:picMk id="9" creationId="{C6961A91-BDAB-40BA-A762-049EC381DF18}"/>
          </ac:picMkLst>
        </pc:picChg>
      </pc:sldChg>
      <pc:sldChg chg="addSp delSp modSp add">
        <pc:chgData name="Thomas Stensitzki" userId="75cafe6b-2f2a-469b-85c4-eec3b9c972ba" providerId="ADAL" clId="{F17CDA02-90FA-4D24-97F8-535DD3CEBAF4}" dt="2019-06-22T14:53:57.385" v="3256" actId="20577"/>
        <pc:sldMkLst>
          <pc:docMk/>
          <pc:sldMk cId="1227006758" sldId="278"/>
        </pc:sldMkLst>
        <pc:spChg chg="add mod">
          <ac:chgData name="Thomas Stensitzki" userId="75cafe6b-2f2a-469b-85c4-eec3b9c972ba" providerId="ADAL" clId="{F17CDA02-90FA-4D24-97F8-535DD3CEBAF4}" dt="2019-06-22T14:50:45.291" v="3073" actId="790"/>
          <ac:spMkLst>
            <pc:docMk/>
            <pc:sldMk cId="1227006758" sldId="278"/>
            <ac:spMk id="10" creationId="{830CE5D2-DFD2-4028-8B5C-16BFCEA086DE}"/>
          </ac:spMkLst>
        </pc:spChg>
        <pc:spChg chg="mod">
          <ac:chgData name="Thomas Stensitzki" userId="75cafe6b-2f2a-469b-85c4-eec3b9c972ba" providerId="ADAL" clId="{F17CDA02-90FA-4D24-97F8-535DD3CEBAF4}" dt="2019-06-22T14:49:26.090" v="3046" actId="1076"/>
          <ac:spMkLst>
            <pc:docMk/>
            <pc:sldMk cId="1227006758" sldId="278"/>
            <ac:spMk id="14" creationId="{F2CD2A51-0F8F-4617-BD22-C4A2B0C6256C}"/>
          </ac:spMkLst>
        </pc:spChg>
        <pc:spChg chg="add mod">
          <ac:chgData name="Thomas Stensitzki" userId="75cafe6b-2f2a-469b-85c4-eec3b9c972ba" providerId="ADAL" clId="{F17CDA02-90FA-4D24-97F8-535DD3CEBAF4}" dt="2019-06-22T14:50:45.293" v="3074" actId="790"/>
          <ac:spMkLst>
            <pc:docMk/>
            <pc:sldMk cId="1227006758" sldId="278"/>
            <ac:spMk id="19" creationId="{BE87F903-2E2C-41D6-A934-FBF057C6BBB1}"/>
          </ac:spMkLst>
        </pc:spChg>
        <pc:spChg chg="add mod">
          <ac:chgData name="Thomas Stensitzki" userId="75cafe6b-2f2a-469b-85c4-eec3b9c972ba" providerId="ADAL" clId="{F17CDA02-90FA-4D24-97F8-535DD3CEBAF4}" dt="2019-06-22T14:51:19.452" v="3109" actId="20577"/>
          <ac:spMkLst>
            <pc:docMk/>
            <pc:sldMk cId="1227006758" sldId="278"/>
            <ac:spMk id="20" creationId="{6AFC4B6B-BB5A-425A-A342-D8170BBA398D}"/>
          </ac:spMkLst>
        </pc:spChg>
        <pc:spChg chg="add mod">
          <ac:chgData name="Thomas Stensitzki" userId="75cafe6b-2f2a-469b-85c4-eec3b9c972ba" providerId="ADAL" clId="{F17CDA02-90FA-4D24-97F8-535DD3CEBAF4}" dt="2019-06-22T14:50:45.297" v="3076" actId="790"/>
          <ac:spMkLst>
            <pc:docMk/>
            <pc:sldMk cId="1227006758" sldId="278"/>
            <ac:spMk id="21" creationId="{D218C37B-80D7-4227-B7A3-5CC3F0B283C8}"/>
          </ac:spMkLst>
        </pc:spChg>
        <pc:spChg chg="add mod">
          <ac:chgData name="Thomas Stensitzki" userId="75cafe6b-2f2a-469b-85c4-eec3b9c972ba" providerId="ADAL" clId="{F17CDA02-90FA-4D24-97F8-535DD3CEBAF4}" dt="2019-06-22T14:51:37.890" v="3130" actId="6549"/>
          <ac:spMkLst>
            <pc:docMk/>
            <pc:sldMk cId="1227006758" sldId="278"/>
            <ac:spMk id="22" creationId="{8DFA3FF4-CF6C-4700-9F3F-0DDF2DB92BA2}"/>
          </ac:spMkLst>
        </pc:spChg>
        <pc:spChg chg="add mod">
          <ac:chgData name="Thomas Stensitzki" userId="75cafe6b-2f2a-469b-85c4-eec3b9c972ba" providerId="ADAL" clId="{F17CDA02-90FA-4D24-97F8-535DD3CEBAF4}" dt="2019-06-22T14:53:04.100" v="3236" actId="1076"/>
          <ac:spMkLst>
            <pc:docMk/>
            <pc:sldMk cId="1227006758" sldId="278"/>
            <ac:spMk id="27" creationId="{DEFDA8DC-2CFB-4F00-9804-5286071C91F2}"/>
          </ac:spMkLst>
        </pc:spChg>
        <pc:spChg chg="add mod">
          <ac:chgData name="Thomas Stensitzki" userId="75cafe6b-2f2a-469b-85c4-eec3b9c972ba" providerId="ADAL" clId="{F17CDA02-90FA-4D24-97F8-535DD3CEBAF4}" dt="2019-06-22T14:52:32.211" v="3189" actId="20577"/>
          <ac:spMkLst>
            <pc:docMk/>
            <pc:sldMk cId="1227006758" sldId="278"/>
            <ac:spMk id="28" creationId="{02DD437A-D11D-44C8-8539-D458AC90C73B}"/>
          </ac:spMkLst>
        </pc:spChg>
        <pc:spChg chg="add mod">
          <ac:chgData name="Thomas Stensitzki" userId="75cafe6b-2f2a-469b-85c4-eec3b9c972ba" providerId="ADAL" clId="{F17CDA02-90FA-4D24-97F8-535DD3CEBAF4}" dt="2019-06-22T14:52:05.493" v="3151" actId="6549"/>
          <ac:spMkLst>
            <pc:docMk/>
            <pc:sldMk cId="1227006758" sldId="278"/>
            <ac:spMk id="29" creationId="{F8638756-9462-4BE1-97DC-6BB4D83DCDE4}"/>
          </ac:spMkLst>
        </pc:spChg>
        <pc:spChg chg="add mod">
          <ac:chgData name="Thomas Stensitzki" userId="75cafe6b-2f2a-469b-85c4-eec3b9c972ba" providerId="ADAL" clId="{F17CDA02-90FA-4D24-97F8-535DD3CEBAF4}" dt="2019-06-22T14:53:45.088" v="3252" actId="20577"/>
          <ac:spMkLst>
            <pc:docMk/>
            <pc:sldMk cId="1227006758" sldId="278"/>
            <ac:spMk id="33" creationId="{A445340E-E8DF-4F91-A908-7AA24D80B103}"/>
          </ac:spMkLst>
        </pc:spChg>
        <pc:spChg chg="add mod">
          <ac:chgData name="Thomas Stensitzki" userId="75cafe6b-2f2a-469b-85c4-eec3b9c972ba" providerId="ADAL" clId="{F17CDA02-90FA-4D24-97F8-535DD3CEBAF4}" dt="2019-06-22T14:53:57.385" v="3256" actId="20577"/>
          <ac:spMkLst>
            <pc:docMk/>
            <pc:sldMk cId="1227006758" sldId="278"/>
            <ac:spMk id="34" creationId="{E68FFE4C-3D50-4B44-8B41-01E234475AD2}"/>
          </ac:spMkLst>
        </pc:spChg>
        <pc:picChg chg="del">
          <ac:chgData name="Thomas Stensitzki" userId="75cafe6b-2f2a-469b-85c4-eec3b9c972ba" providerId="ADAL" clId="{F17CDA02-90FA-4D24-97F8-535DD3CEBAF4}" dt="2019-06-22T14:48:16.729" v="3002" actId="478"/>
          <ac:picMkLst>
            <pc:docMk/>
            <pc:sldMk cId="1227006758" sldId="278"/>
            <ac:picMk id="9" creationId="{C6961A91-BDAB-40BA-A762-049EC381DF18}"/>
          </ac:picMkLst>
        </pc:picChg>
        <pc:picChg chg="add mod">
          <ac:chgData name="Thomas Stensitzki" userId="75cafe6b-2f2a-469b-85c4-eec3b9c972ba" providerId="ADAL" clId="{F17CDA02-90FA-4D24-97F8-535DD3CEBAF4}" dt="2019-06-22T14:49:01.540" v="3041" actId="1035"/>
          <ac:picMkLst>
            <pc:docMk/>
            <pc:sldMk cId="1227006758" sldId="278"/>
            <ac:picMk id="11" creationId="{3C06FB82-4FBC-4AB7-9FE5-090A8E28D908}"/>
          </ac:picMkLst>
        </pc:picChg>
        <pc:picChg chg="mod">
          <ac:chgData name="Thomas Stensitzki" userId="75cafe6b-2f2a-469b-85c4-eec3b9c972ba" providerId="ADAL" clId="{F17CDA02-90FA-4D24-97F8-535DD3CEBAF4}" dt="2019-06-22T14:49:09.588" v="3043" actId="1076"/>
          <ac:picMkLst>
            <pc:docMk/>
            <pc:sldMk cId="1227006758" sldId="278"/>
            <ac:picMk id="12" creationId="{6D0B10B2-C374-4192-88DA-CFF82B9A956C}"/>
          </ac:picMkLst>
        </pc:picChg>
        <pc:picChg chg="add mod">
          <ac:chgData name="Thomas Stensitzki" userId="75cafe6b-2f2a-469b-85c4-eec3b9c972ba" providerId="ADAL" clId="{F17CDA02-90FA-4D24-97F8-535DD3CEBAF4}" dt="2019-06-22T14:49:01.540" v="3041" actId="1035"/>
          <ac:picMkLst>
            <pc:docMk/>
            <pc:sldMk cId="1227006758" sldId="278"/>
            <ac:picMk id="16" creationId="{3730A324-D5A1-42D3-9C75-0FA5701080EB}"/>
          </ac:picMkLst>
        </pc:picChg>
        <pc:picChg chg="add mod">
          <ac:chgData name="Thomas Stensitzki" userId="75cafe6b-2f2a-469b-85c4-eec3b9c972ba" providerId="ADAL" clId="{F17CDA02-90FA-4D24-97F8-535DD3CEBAF4}" dt="2019-06-22T14:49:01.540" v="3041" actId="1035"/>
          <ac:picMkLst>
            <pc:docMk/>
            <pc:sldMk cId="1227006758" sldId="278"/>
            <ac:picMk id="17" creationId="{6252B551-9B1B-480D-96BC-576CFB90A44D}"/>
          </ac:picMkLst>
        </pc:picChg>
        <pc:picChg chg="add mod">
          <ac:chgData name="Thomas Stensitzki" userId="75cafe6b-2f2a-469b-85c4-eec3b9c972ba" providerId="ADAL" clId="{F17CDA02-90FA-4D24-97F8-535DD3CEBAF4}" dt="2019-06-22T14:49:01.540" v="3041" actId="1035"/>
          <ac:picMkLst>
            <pc:docMk/>
            <pc:sldMk cId="1227006758" sldId="278"/>
            <ac:picMk id="18" creationId="{4D05E715-4C4B-4CE8-86CE-8F4D804598BA}"/>
          </ac:picMkLst>
        </pc:picChg>
        <pc:picChg chg="add mod">
          <ac:chgData name="Thomas Stensitzki" userId="75cafe6b-2f2a-469b-85c4-eec3b9c972ba" providerId="ADAL" clId="{F17CDA02-90FA-4D24-97F8-535DD3CEBAF4}" dt="2019-06-22T14:49:01.540" v="3041" actId="1035"/>
          <ac:picMkLst>
            <pc:docMk/>
            <pc:sldMk cId="1227006758" sldId="278"/>
            <ac:picMk id="23" creationId="{FE998C25-0062-4774-B0E2-3CDB974B8D4C}"/>
          </ac:picMkLst>
        </pc:picChg>
        <pc:picChg chg="add mod">
          <ac:chgData name="Thomas Stensitzki" userId="75cafe6b-2f2a-469b-85c4-eec3b9c972ba" providerId="ADAL" clId="{F17CDA02-90FA-4D24-97F8-535DD3CEBAF4}" dt="2019-06-22T14:49:01.540" v="3041" actId="1035"/>
          <ac:picMkLst>
            <pc:docMk/>
            <pc:sldMk cId="1227006758" sldId="278"/>
            <ac:picMk id="24" creationId="{03433D96-7BCB-484A-9AEA-E5CABB5BBAFA}"/>
          </ac:picMkLst>
        </pc:picChg>
        <pc:picChg chg="add mod">
          <ac:chgData name="Thomas Stensitzki" userId="75cafe6b-2f2a-469b-85c4-eec3b9c972ba" providerId="ADAL" clId="{F17CDA02-90FA-4D24-97F8-535DD3CEBAF4}" dt="2019-06-22T14:49:01.540" v="3041" actId="1035"/>
          <ac:picMkLst>
            <pc:docMk/>
            <pc:sldMk cId="1227006758" sldId="278"/>
            <ac:picMk id="25" creationId="{D7D2DA56-B66A-498D-91AF-A8F65A13618B}"/>
          </ac:picMkLst>
        </pc:picChg>
        <pc:picChg chg="add mod">
          <ac:chgData name="Thomas Stensitzki" userId="75cafe6b-2f2a-469b-85c4-eec3b9c972ba" providerId="ADAL" clId="{F17CDA02-90FA-4D24-97F8-535DD3CEBAF4}" dt="2019-06-22T14:49:01.540" v="3041" actId="1035"/>
          <ac:picMkLst>
            <pc:docMk/>
            <pc:sldMk cId="1227006758" sldId="278"/>
            <ac:picMk id="26" creationId="{D35511B4-B649-4746-B791-AB265E20BBB1}"/>
          </ac:picMkLst>
        </pc:picChg>
        <pc:picChg chg="add mod">
          <ac:chgData name="Thomas Stensitzki" userId="75cafe6b-2f2a-469b-85c4-eec3b9c972ba" providerId="ADAL" clId="{F17CDA02-90FA-4D24-97F8-535DD3CEBAF4}" dt="2019-06-22T14:53:15.802" v="3249" actId="1035"/>
          <ac:picMkLst>
            <pc:docMk/>
            <pc:sldMk cId="1227006758" sldId="278"/>
            <ac:picMk id="30" creationId="{96EAED32-6B6F-4052-B274-4AF39E619DF0}"/>
          </ac:picMkLst>
        </pc:picChg>
        <pc:picChg chg="add mod">
          <ac:chgData name="Thomas Stensitzki" userId="75cafe6b-2f2a-469b-85c4-eec3b9c972ba" providerId="ADAL" clId="{F17CDA02-90FA-4D24-97F8-535DD3CEBAF4}" dt="2019-06-22T14:53:15.802" v="3249" actId="1035"/>
          <ac:picMkLst>
            <pc:docMk/>
            <pc:sldMk cId="1227006758" sldId="278"/>
            <ac:picMk id="31" creationId="{8742F3FA-52DA-4B48-90D8-0D8E8E3801EA}"/>
          </ac:picMkLst>
        </pc:picChg>
        <pc:picChg chg="add mod">
          <ac:chgData name="Thomas Stensitzki" userId="75cafe6b-2f2a-469b-85c4-eec3b9c972ba" providerId="ADAL" clId="{F17CDA02-90FA-4D24-97F8-535DD3CEBAF4}" dt="2019-06-22T14:53:15.802" v="3249" actId="1035"/>
          <ac:picMkLst>
            <pc:docMk/>
            <pc:sldMk cId="1227006758" sldId="278"/>
            <ac:picMk id="32" creationId="{051DADF2-470E-4CC5-877D-29E60BAE58E5}"/>
          </ac:picMkLst>
        </pc:picChg>
        <pc:picChg chg="add mod">
          <ac:chgData name="Thomas Stensitzki" userId="75cafe6b-2f2a-469b-85c4-eec3b9c972ba" providerId="ADAL" clId="{F17CDA02-90FA-4D24-97F8-535DD3CEBAF4}" dt="2019-06-22T14:53:15.802" v="3249" actId="1035"/>
          <ac:picMkLst>
            <pc:docMk/>
            <pc:sldMk cId="1227006758" sldId="278"/>
            <ac:picMk id="35" creationId="{23D07210-C1B8-407F-8497-5AB8A5967659}"/>
          </ac:picMkLst>
        </pc:picChg>
        <pc:picChg chg="add mod">
          <ac:chgData name="Thomas Stensitzki" userId="75cafe6b-2f2a-469b-85c4-eec3b9c972ba" providerId="ADAL" clId="{F17CDA02-90FA-4D24-97F8-535DD3CEBAF4}" dt="2019-06-22T14:53:15.802" v="3249" actId="1035"/>
          <ac:picMkLst>
            <pc:docMk/>
            <pc:sldMk cId="1227006758" sldId="278"/>
            <ac:picMk id="36" creationId="{8FCA8A6F-824A-436C-BEFA-2E589D3305D5}"/>
          </ac:picMkLst>
        </pc:picChg>
        <pc:picChg chg="add mod">
          <ac:chgData name="Thomas Stensitzki" userId="75cafe6b-2f2a-469b-85c4-eec3b9c972ba" providerId="ADAL" clId="{F17CDA02-90FA-4D24-97F8-535DD3CEBAF4}" dt="2019-06-22T14:53:15.802" v="3249" actId="1035"/>
          <ac:picMkLst>
            <pc:docMk/>
            <pc:sldMk cId="1227006758" sldId="278"/>
            <ac:picMk id="37" creationId="{5645BD83-A248-4405-8C12-763E77878786}"/>
          </ac:picMkLst>
        </pc:picChg>
      </pc:sldChg>
      <pc:sldChg chg="addSp delSp modSp add">
        <pc:chgData name="Thomas Stensitzki" userId="75cafe6b-2f2a-469b-85c4-eec3b9c972ba" providerId="ADAL" clId="{F17CDA02-90FA-4D24-97F8-535DD3CEBAF4}" dt="2019-06-22T14:55:02.142" v="3331" actId="1038"/>
        <pc:sldMkLst>
          <pc:docMk/>
          <pc:sldMk cId="1280649679" sldId="279"/>
        </pc:sldMkLst>
        <pc:spChg chg="del">
          <ac:chgData name="Thomas Stensitzki" userId="75cafe6b-2f2a-469b-85c4-eec3b9c972ba" providerId="ADAL" clId="{F17CDA02-90FA-4D24-97F8-535DD3CEBAF4}" dt="2019-06-22T14:54:50.192" v="3309" actId="478"/>
          <ac:spMkLst>
            <pc:docMk/>
            <pc:sldMk cId="1280649679" sldId="279"/>
            <ac:spMk id="10" creationId="{830CE5D2-DFD2-4028-8B5C-16BFCEA086DE}"/>
          </ac:spMkLst>
        </pc:spChg>
        <pc:spChg chg="mod">
          <ac:chgData name="Thomas Stensitzki" userId="75cafe6b-2f2a-469b-85c4-eec3b9c972ba" providerId="ADAL" clId="{F17CDA02-90FA-4D24-97F8-535DD3CEBAF4}" dt="2019-06-22T14:54:42.908" v="3308" actId="20577"/>
          <ac:spMkLst>
            <pc:docMk/>
            <pc:sldMk cId="1280649679" sldId="279"/>
            <ac:spMk id="14" creationId="{F2CD2A51-0F8F-4617-BD22-C4A2B0C6256C}"/>
          </ac:spMkLst>
        </pc:spChg>
        <pc:spChg chg="del">
          <ac:chgData name="Thomas Stensitzki" userId="75cafe6b-2f2a-469b-85c4-eec3b9c972ba" providerId="ADAL" clId="{F17CDA02-90FA-4D24-97F8-535DD3CEBAF4}" dt="2019-06-22T14:54:50.192" v="3309" actId="478"/>
          <ac:spMkLst>
            <pc:docMk/>
            <pc:sldMk cId="1280649679" sldId="279"/>
            <ac:spMk id="19" creationId="{BE87F903-2E2C-41D6-A934-FBF057C6BBB1}"/>
          </ac:spMkLst>
        </pc:spChg>
        <pc:spChg chg="del">
          <ac:chgData name="Thomas Stensitzki" userId="75cafe6b-2f2a-469b-85c4-eec3b9c972ba" providerId="ADAL" clId="{F17CDA02-90FA-4D24-97F8-535DD3CEBAF4}" dt="2019-06-22T14:54:50.192" v="3309" actId="478"/>
          <ac:spMkLst>
            <pc:docMk/>
            <pc:sldMk cId="1280649679" sldId="279"/>
            <ac:spMk id="20" creationId="{6AFC4B6B-BB5A-425A-A342-D8170BBA398D}"/>
          </ac:spMkLst>
        </pc:spChg>
        <pc:spChg chg="del">
          <ac:chgData name="Thomas Stensitzki" userId="75cafe6b-2f2a-469b-85c4-eec3b9c972ba" providerId="ADAL" clId="{F17CDA02-90FA-4D24-97F8-535DD3CEBAF4}" dt="2019-06-22T14:54:50.192" v="3309" actId="478"/>
          <ac:spMkLst>
            <pc:docMk/>
            <pc:sldMk cId="1280649679" sldId="279"/>
            <ac:spMk id="21" creationId="{D218C37B-80D7-4227-B7A3-5CC3F0B283C8}"/>
          </ac:spMkLst>
        </pc:spChg>
        <pc:spChg chg="del">
          <ac:chgData name="Thomas Stensitzki" userId="75cafe6b-2f2a-469b-85c4-eec3b9c972ba" providerId="ADAL" clId="{F17CDA02-90FA-4D24-97F8-535DD3CEBAF4}" dt="2019-06-22T14:54:50.192" v="3309" actId="478"/>
          <ac:spMkLst>
            <pc:docMk/>
            <pc:sldMk cId="1280649679" sldId="279"/>
            <ac:spMk id="22" creationId="{8DFA3FF4-CF6C-4700-9F3F-0DDF2DB92BA2}"/>
          </ac:spMkLst>
        </pc:spChg>
        <pc:spChg chg="del">
          <ac:chgData name="Thomas Stensitzki" userId="75cafe6b-2f2a-469b-85c4-eec3b9c972ba" providerId="ADAL" clId="{F17CDA02-90FA-4D24-97F8-535DD3CEBAF4}" dt="2019-06-22T14:54:50.192" v="3309" actId="478"/>
          <ac:spMkLst>
            <pc:docMk/>
            <pc:sldMk cId="1280649679" sldId="279"/>
            <ac:spMk id="27" creationId="{DEFDA8DC-2CFB-4F00-9804-5286071C91F2}"/>
          </ac:spMkLst>
        </pc:spChg>
        <pc:spChg chg="del">
          <ac:chgData name="Thomas Stensitzki" userId="75cafe6b-2f2a-469b-85c4-eec3b9c972ba" providerId="ADAL" clId="{F17CDA02-90FA-4D24-97F8-535DD3CEBAF4}" dt="2019-06-22T14:54:50.192" v="3309" actId="478"/>
          <ac:spMkLst>
            <pc:docMk/>
            <pc:sldMk cId="1280649679" sldId="279"/>
            <ac:spMk id="28" creationId="{02DD437A-D11D-44C8-8539-D458AC90C73B}"/>
          </ac:spMkLst>
        </pc:spChg>
        <pc:spChg chg="del">
          <ac:chgData name="Thomas Stensitzki" userId="75cafe6b-2f2a-469b-85c4-eec3b9c972ba" providerId="ADAL" clId="{F17CDA02-90FA-4D24-97F8-535DD3CEBAF4}" dt="2019-06-22T14:54:50.192" v="3309" actId="478"/>
          <ac:spMkLst>
            <pc:docMk/>
            <pc:sldMk cId="1280649679" sldId="279"/>
            <ac:spMk id="29" creationId="{F8638756-9462-4BE1-97DC-6BB4D83DCDE4}"/>
          </ac:spMkLst>
        </pc:spChg>
        <pc:spChg chg="del">
          <ac:chgData name="Thomas Stensitzki" userId="75cafe6b-2f2a-469b-85c4-eec3b9c972ba" providerId="ADAL" clId="{F17CDA02-90FA-4D24-97F8-535DD3CEBAF4}" dt="2019-06-22T14:54:50.192" v="3309" actId="478"/>
          <ac:spMkLst>
            <pc:docMk/>
            <pc:sldMk cId="1280649679" sldId="279"/>
            <ac:spMk id="33" creationId="{A445340E-E8DF-4F91-A908-7AA24D80B103}"/>
          </ac:spMkLst>
        </pc:spChg>
        <pc:spChg chg="del">
          <ac:chgData name="Thomas Stensitzki" userId="75cafe6b-2f2a-469b-85c4-eec3b9c972ba" providerId="ADAL" clId="{F17CDA02-90FA-4D24-97F8-535DD3CEBAF4}" dt="2019-06-22T14:54:50.192" v="3309" actId="478"/>
          <ac:spMkLst>
            <pc:docMk/>
            <pc:sldMk cId="1280649679" sldId="279"/>
            <ac:spMk id="34" creationId="{E68FFE4C-3D50-4B44-8B41-01E234475AD2}"/>
          </ac:spMkLst>
        </pc:spChg>
        <pc:picChg chg="del">
          <ac:chgData name="Thomas Stensitzki" userId="75cafe6b-2f2a-469b-85c4-eec3b9c972ba" providerId="ADAL" clId="{F17CDA02-90FA-4D24-97F8-535DD3CEBAF4}" dt="2019-06-22T14:54:50.192" v="3309" actId="478"/>
          <ac:picMkLst>
            <pc:docMk/>
            <pc:sldMk cId="1280649679" sldId="279"/>
            <ac:picMk id="11" creationId="{3C06FB82-4FBC-4AB7-9FE5-090A8E28D908}"/>
          </ac:picMkLst>
        </pc:picChg>
        <pc:picChg chg="del">
          <ac:chgData name="Thomas Stensitzki" userId="75cafe6b-2f2a-469b-85c4-eec3b9c972ba" providerId="ADAL" clId="{F17CDA02-90FA-4D24-97F8-535DD3CEBAF4}" dt="2019-06-22T14:54:50.192" v="3309" actId="478"/>
          <ac:picMkLst>
            <pc:docMk/>
            <pc:sldMk cId="1280649679" sldId="279"/>
            <ac:picMk id="16" creationId="{3730A324-D5A1-42D3-9C75-0FA5701080EB}"/>
          </ac:picMkLst>
        </pc:picChg>
        <pc:picChg chg="del">
          <ac:chgData name="Thomas Stensitzki" userId="75cafe6b-2f2a-469b-85c4-eec3b9c972ba" providerId="ADAL" clId="{F17CDA02-90FA-4D24-97F8-535DD3CEBAF4}" dt="2019-06-22T14:54:50.192" v="3309" actId="478"/>
          <ac:picMkLst>
            <pc:docMk/>
            <pc:sldMk cId="1280649679" sldId="279"/>
            <ac:picMk id="17" creationId="{6252B551-9B1B-480D-96BC-576CFB90A44D}"/>
          </ac:picMkLst>
        </pc:picChg>
        <pc:picChg chg="del">
          <ac:chgData name="Thomas Stensitzki" userId="75cafe6b-2f2a-469b-85c4-eec3b9c972ba" providerId="ADAL" clId="{F17CDA02-90FA-4D24-97F8-535DD3CEBAF4}" dt="2019-06-22T14:54:50.192" v="3309" actId="478"/>
          <ac:picMkLst>
            <pc:docMk/>
            <pc:sldMk cId="1280649679" sldId="279"/>
            <ac:picMk id="18" creationId="{4D05E715-4C4B-4CE8-86CE-8F4D804598BA}"/>
          </ac:picMkLst>
        </pc:picChg>
        <pc:picChg chg="del">
          <ac:chgData name="Thomas Stensitzki" userId="75cafe6b-2f2a-469b-85c4-eec3b9c972ba" providerId="ADAL" clId="{F17CDA02-90FA-4D24-97F8-535DD3CEBAF4}" dt="2019-06-22T14:54:50.192" v="3309" actId="478"/>
          <ac:picMkLst>
            <pc:docMk/>
            <pc:sldMk cId="1280649679" sldId="279"/>
            <ac:picMk id="23" creationId="{FE998C25-0062-4774-B0E2-3CDB974B8D4C}"/>
          </ac:picMkLst>
        </pc:picChg>
        <pc:picChg chg="del">
          <ac:chgData name="Thomas Stensitzki" userId="75cafe6b-2f2a-469b-85c4-eec3b9c972ba" providerId="ADAL" clId="{F17CDA02-90FA-4D24-97F8-535DD3CEBAF4}" dt="2019-06-22T14:54:50.192" v="3309" actId="478"/>
          <ac:picMkLst>
            <pc:docMk/>
            <pc:sldMk cId="1280649679" sldId="279"/>
            <ac:picMk id="24" creationId="{03433D96-7BCB-484A-9AEA-E5CABB5BBAFA}"/>
          </ac:picMkLst>
        </pc:picChg>
        <pc:picChg chg="del">
          <ac:chgData name="Thomas Stensitzki" userId="75cafe6b-2f2a-469b-85c4-eec3b9c972ba" providerId="ADAL" clId="{F17CDA02-90FA-4D24-97F8-535DD3CEBAF4}" dt="2019-06-22T14:54:50.192" v="3309" actId="478"/>
          <ac:picMkLst>
            <pc:docMk/>
            <pc:sldMk cId="1280649679" sldId="279"/>
            <ac:picMk id="25" creationId="{D7D2DA56-B66A-498D-91AF-A8F65A13618B}"/>
          </ac:picMkLst>
        </pc:picChg>
        <pc:picChg chg="del">
          <ac:chgData name="Thomas Stensitzki" userId="75cafe6b-2f2a-469b-85c4-eec3b9c972ba" providerId="ADAL" clId="{F17CDA02-90FA-4D24-97F8-535DD3CEBAF4}" dt="2019-06-22T14:54:50.192" v="3309" actId="478"/>
          <ac:picMkLst>
            <pc:docMk/>
            <pc:sldMk cId="1280649679" sldId="279"/>
            <ac:picMk id="26" creationId="{D35511B4-B649-4746-B791-AB265E20BBB1}"/>
          </ac:picMkLst>
        </pc:picChg>
        <pc:picChg chg="del">
          <ac:chgData name="Thomas Stensitzki" userId="75cafe6b-2f2a-469b-85c4-eec3b9c972ba" providerId="ADAL" clId="{F17CDA02-90FA-4D24-97F8-535DD3CEBAF4}" dt="2019-06-22T14:54:50.192" v="3309" actId="478"/>
          <ac:picMkLst>
            <pc:docMk/>
            <pc:sldMk cId="1280649679" sldId="279"/>
            <ac:picMk id="30" creationId="{96EAED32-6B6F-4052-B274-4AF39E619DF0}"/>
          </ac:picMkLst>
        </pc:picChg>
        <pc:picChg chg="del">
          <ac:chgData name="Thomas Stensitzki" userId="75cafe6b-2f2a-469b-85c4-eec3b9c972ba" providerId="ADAL" clId="{F17CDA02-90FA-4D24-97F8-535DD3CEBAF4}" dt="2019-06-22T14:54:50.192" v="3309" actId="478"/>
          <ac:picMkLst>
            <pc:docMk/>
            <pc:sldMk cId="1280649679" sldId="279"/>
            <ac:picMk id="31" creationId="{8742F3FA-52DA-4B48-90D8-0D8E8E3801EA}"/>
          </ac:picMkLst>
        </pc:picChg>
        <pc:picChg chg="del">
          <ac:chgData name="Thomas Stensitzki" userId="75cafe6b-2f2a-469b-85c4-eec3b9c972ba" providerId="ADAL" clId="{F17CDA02-90FA-4D24-97F8-535DD3CEBAF4}" dt="2019-06-22T14:54:50.192" v="3309" actId="478"/>
          <ac:picMkLst>
            <pc:docMk/>
            <pc:sldMk cId="1280649679" sldId="279"/>
            <ac:picMk id="32" creationId="{051DADF2-470E-4CC5-877D-29E60BAE58E5}"/>
          </ac:picMkLst>
        </pc:picChg>
        <pc:picChg chg="del">
          <ac:chgData name="Thomas Stensitzki" userId="75cafe6b-2f2a-469b-85c4-eec3b9c972ba" providerId="ADAL" clId="{F17CDA02-90FA-4D24-97F8-535DD3CEBAF4}" dt="2019-06-22T14:54:50.192" v="3309" actId="478"/>
          <ac:picMkLst>
            <pc:docMk/>
            <pc:sldMk cId="1280649679" sldId="279"/>
            <ac:picMk id="35" creationId="{23D07210-C1B8-407F-8497-5AB8A5967659}"/>
          </ac:picMkLst>
        </pc:picChg>
        <pc:picChg chg="del">
          <ac:chgData name="Thomas Stensitzki" userId="75cafe6b-2f2a-469b-85c4-eec3b9c972ba" providerId="ADAL" clId="{F17CDA02-90FA-4D24-97F8-535DD3CEBAF4}" dt="2019-06-22T14:54:50.192" v="3309" actId="478"/>
          <ac:picMkLst>
            <pc:docMk/>
            <pc:sldMk cId="1280649679" sldId="279"/>
            <ac:picMk id="36" creationId="{8FCA8A6F-824A-436C-BEFA-2E589D3305D5}"/>
          </ac:picMkLst>
        </pc:picChg>
        <pc:picChg chg="del">
          <ac:chgData name="Thomas Stensitzki" userId="75cafe6b-2f2a-469b-85c4-eec3b9c972ba" providerId="ADAL" clId="{F17CDA02-90FA-4D24-97F8-535DD3CEBAF4}" dt="2019-06-22T14:54:50.192" v="3309" actId="478"/>
          <ac:picMkLst>
            <pc:docMk/>
            <pc:sldMk cId="1280649679" sldId="279"/>
            <ac:picMk id="37" creationId="{5645BD83-A248-4405-8C12-763E77878786}"/>
          </ac:picMkLst>
        </pc:picChg>
        <pc:picChg chg="add mod">
          <ac:chgData name="Thomas Stensitzki" userId="75cafe6b-2f2a-469b-85c4-eec3b9c972ba" providerId="ADAL" clId="{F17CDA02-90FA-4D24-97F8-535DD3CEBAF4}" dt="2019-06-22T14:55:02.142" v="3331" actId="1038"/>
          <ac:picMkLst>
            <pc:docMk/>
            <pc:sldMk cId="1280649679" sldId="279"/>
            <ac:picMk id="38" creationId="{B5FBB446-C773-4407-814B-8DA75A2F30F1}"/>
          </ac:picMkLst>
        </pc:picChg>
        <pc:picChg chg="add mod">
          <ac:chgData name="Thomas Stensitzki" userId="75cafe6b-2f2a-469b-85c4-eec3b9c972ba" providerId="ADAL" clId="{F17CDA02-90FA-4D24-97F8-535DD3CEBAF4}" dt="2019-06-22T14:55:02.142" v="3331" actId="1038"/>
          <ac:picMkLst>
            <pc:docMk/>
            <pc:sldMk cId="1280649679" sldId="279"/>
            <ac:picMk id="39" creationId="{A81FACB4-F430-433F-8CD4-DD3BAB4D6C91}"/>
          </ac:picMkLst>
        </pc:picChg>
        <pc:picChg chg="add mod">
          <ac:chgData name="Thomas Stensitzki" userId="75cafe6b-2f2a-469b-85c4-eec3b9c972ba" providerId="ADAL" clId="{F17CDA02-90FA-4D24-97F8-535DD3CEBAF4}" dt="2019-06-22T14:55:02.142" v="3331" actId="1038"/>
          <ac:picMkLst>
            <pc:docMk/>
            <pc:sldMk cId="1280649679" sldId="279"/>
            <ac:picMk id="40" creationId="{05C5242A-D0ED-493C-BEEF-345FA795419F}"/>
          </ac:picMkLst>
        </pc:picChg>
        <pc:picChg chg="add mod">
          <ac:chgData name="Thomas Stensitzki" userId="75cafe6b-2f2a-469b-85c4-eec3b9c972ba" providerId="ADAL" clId="{F17CDA02-90FA-4D24-97F8-535DD3CEBAF4}" dt="2019-06-22T14:55:02.142" v="3331" actId="1038"/>
          <ac:picMkLst>
            <pc:docMk/>
            <pc:sldMk cId="1280649679" sldId="279"/>
            <ac:picMk id="41" creationId="{1CE932F6-C7FC-4D0D-9461-7748E57DE9BE}"/>
          </ac:picMkLst>
        </pc:picChg>
        <pc:picChg chg="add mod">
          <ac:chgData name="Thomas Stensitzki" userId="75cafe6b-2f2a-469b-85c4-eec3b9c972ba" providerId="ADAL" clId="{F17CDA02-90FA-4D24-97F8-535DD3CEBAF4}" dt="2019-06-22T14:55:02.142" v="3331" actId="1038"/>
          <ac:picMkLst>
            <pc:docMk/>
            <pc:sldMk cId="1280649679" sldId="279"/>
            <ac:picMk id="42" creationId="{1AA56794-B66E-43B3-AC2B-40E943AE072B}"/>
          </ac:picMkLst>
        </pc:picChg>
        <pc:picChg chg="add mod">
          <ac:chgData name="Thomas Stensitzki" userId="75cafe6b-2f2a-469b-85c4-eec3b9c972ba" providerId="ADAL" clId="{F17CDA02-90FA-4D24-97F8-535DD3CEBAF4}" dt="2019-06-22T14:55:02.142" v="3331" actId="1038"/>
          <ac:picMkLst>
            <pc:docMk/>
            <pc:sldMk cId="1280649679" sldId="279"/>
            <ac:picMk id="43" creationId="{50E8E2DF-3DD0-41CB-ACA5-3A79514B6095}"/>
          </ac:picMkLst>
        </pc:picChg>
        <pc:picChg chg="add mod">
          <ac:chgData name="Thomas Stensitzki" userId="75cafe6b-2f2a-469b-85c4-eec3b9c972ba" providerId="ADAL" clId="{F17CDA02-90FA-4D24-97F8-535DD3CEBAF4}" dt="2019-06-22T14:55:02.142" v="3331" actId="1038"/>
          <ac:picMkLst>
            <pc:docMk/>
            <pc:sldMk cId="1280649679" sldId="279"/>
            <ac:picMk id="44" creationId="{100A6A78-428E-489A-AB3A-7805E6070FB6}"/>
          </ac:picMkLst>
        </pc:picChg>
        <pc:picChg chg="add mod">
          <ac:chgData name="Thomas Stensitzki" userId="75cafe6b-2f2a-469b-85c4-eec3b9c972ba" providerId="ADAL" clId="{F17CDA02-90FA-4D24-97F8-535DD3CEBAF4}" dt="2019-06-22T14:55:02.142" v="3331" actId="1038"/>
          <ac:picMkLst>
            <pc:docMk/>
            <pc:sldMk cId="1280649679" sldId="279"/>
            <ac:picMk id="45" creationId="{46D78686-E8ED-4125-94DF-DD3E5F350B13}"/>
          </ac:picMkLst>
        </pc:picChg>
        <pc:picChg chg="add mod">
          <ac:chgData name="Thomas Stensitzki" userId="75cafe6b-2f2a-469b-85c4-eec3b9c972ba" providerId="ADAL" clId="{F17CDA02-90FA-4D24-97F8-535DD3CEBAF4}" dt="2019-06-22T14:55:02.142" v="3331" actId="1038"/>
          <ac:picMkLst>
            <pc:docMk/>
            <pc:sldMk cId="1280649679" sldId="279"/>
            <ac:picMk id="46" creationId="{9834BD0F-2FAD-45E2-90AE-9A7BDB3F5C79}"/>
          </ac:picMkLst>
        </pc:picChg>
        <pc:picChg chg="add mod">
          <ac:chgData name="Thomas Stensitzki" userId="75cafe6b-2f2a-469b-85c4-eec3b9c972ba" providerId="ADAL" clId="{F17CDA02-90FA-4D24-97F8-535DD3CEBAF4}" dt="2019-06-22T14:55:02.142" v="3331" actId="1038"/>
          <ac:picMkLst>
            <pc:docMk/>
            <pc:sldMk cId="1280649679" sldId="279"/>
            <ac:picMk id="47" creationId="{8EA489B6-E4EA-426C-8539-4477DD7C2B2E}"/>
          </ac:picMkLst>
        </pc:picChg>
        <pc:picChg chg="add mod">
          <ac:chgData name="Thomas Stensitzki" userId="75cafe6b-2f2a-469b-85c4-eec3b9c972ba" providerId="ADAL" clId="{F17CDA02-90FA-4D24-97F8-535DD3CEBAF4}" dt="2019-06-22T14:55:02.142" v="3331" actId="1038"/>
          <ac:picMkLst>
            <pc:docMk/>
            <pc:sldMk cId="1280649679" sldId="279"/>
            <ac:picMk id="48" creationId="{C25009B8-F9D0-4CCA-8212-5CA3DC5B0047}"/>
          </ac:picMkLst>
        </pc:picChg>
        <pc:picChg chg="add mod">
          <ac:chgData name="Thomas Stensitzki" userId="75cafe6b-2f2a-469b-85c4-eec3b9c972ba" providerId="ADAL" clId="{F17CDA02-90FA-4D24-97F8-535DD3CEBAF4}" dt="2019-06-22T14:55:02.142" v="3331" actId="1038"/>
          <ac:picMkLst>
            <pc:docMk/>
            <pc:sldMk cId="1280649679" sldId="279"/>
            <ac:picMk id="49" creationId="{DD1D7A7B-14CC-4B86-B149-91BEBE7A03A4}"/>
          </ac:picMkLst>
        </pc:picChg>
      </pc:sldChg>
      <pc:sldChg chg="addSp delSp modSp add modAnim">
        <pc:chgData name="Thomas Stensitzki" userId="75cafe6b-2f2a-469b-85c4-eec3b9c972ba" providerId="ADAL" clId="{F17CDA02-90FA-4D24-97F8-535DD3CEBAF4}" dt="2019-06-23T20:24:09.882" v="9832"/>
        <pc:sldMkLst>
          <pc:docMk/>
          <pc:sldMk cId="2303848170" sldId="280"/>
        </pc:sldMkLst>
        <pc:spChg chg="mod">
          <ac:chgData name="Thomas Stensitzki" userId="75cafe6b-2f2a-469b-85c4-eec3b9c972ba" providerId="ADAL" clId="{F17CDA02-90FA-4D24-97F8-535DD3CEBAF4}" dt="2019-06-22T14:55:51.923" v="3375" actId="20577"/>
          <ac:spMkLst>
            <pc:docMk/>
            <pc:sldMk cId="2303848170" sldId="280"/>
            <ac:spMk id="14" creationId="{F2CD2A51-0F8F-4617-BD22-C4A2B0C6256C}"/>
          </ac:spMkLst>
        </pc:spChg>
        <pc:spChg chg="add mod">
          <ac:chgData name="Thomas Stensitzki" userId="75cafe6b-2f2a-469b-85c4-eec3b9c972ba" providerId="ADAL" clId="{F17CDA02-90FA-4D24-97F8-535DD3CEBAF4}" dt="2019-06-23T20:19:32.365" v="9810" actId="14100"/>
          <ac:spMkLst>
            <pc:docMk/>
            <pc:sldMk cId="2303848170" sldId="280"/>
            <ac:spMk id="22" creationId="{B504F313-DFE2-44E8-8ECA-9C6EC30C394C}"/>
          </ac:spMkLst>
        </pc:spChg>
        <pc:graphicFrameChg chg="add mod">
          <ac:chgData name="Thomas Stensitzki" userId="75cafe6b-2f2a-469b-85c4-eec3b9c972ba" providerId="ADAL" clId="{F17CDA02-90FA-4D24-97F8-535DD3CEBAF4}" dt="2019-06-22T15:10:37.460" v="4281" actId="1035"/>
          <ac:graphicFrameMkLst>
            <pc:docMk/>
            <pc:sldMk cId="2303848170" sldId="280"/>
            <ac:graphicFrameMk id="2" creationId="{75D85A2D-580F-4C80-BE56-595EDA6A44AD}"/>
          </ac:graphicFrameMkLst>
        </pc:graphicFrameChg>
        <pc:picChg chg="del">
          <ac:chgData name="Thomas Stensitzki" userId="75cafe6b-2f2a-469b-85c4-eec3b9c972ba" providerId="ADAL" clId="{F17CDA02-90FA-4D24-97F8-535DD3CEBAF4}" dt="2019-06-22T14:55:22.568" v="3333" actId="478"/>
          <ac:picMkLst>
            <pc:docMk/>
            <pc:sldMk cId="2303848170" sldId="280"/>
            <ac:picMk id="38" creationId="{B5FBB446-C773-4407-814B-8DA75A2F30F1}"/>
          </ac:picMkLst>
        </pc:picChg>
        <pc:picChg chg="del">
          <ac:chgData name="Thomas Stensitzki" userId="75cafe6b-2f2a-469b-85c4-eec3b9c972ba" providerId="ADAL" clId="{F17CDA02-90FA-4D24-97F8-535DD3CEBAF4}" dt="2019-06-22T14:55:22.568" v="3333" actId="478"/>
          <ac:picMkLst>
            <pc:docMk/>
            <pc:sldMk cId="2303848170" sldId="280"/>
            <ac:picMk id="39" creationId="{A81FACB4-F430-433F-8CD4-DD3BAB4D6C91}"/>
          </ac:picMkLst>
        </pc:picChg>
        <pc:picChg chg="del">
          <ac:chgData name="Thomas Stensitzki" userId="75cafe6b-2f2a-469b-85c4-eec3b9c972ba" providerId="ADAL" clId="{F17CDA02-90FA-4D24-97F8-535DD3CEBAF4}" dt="2019-06-22T14:55:22.568" v="3333" actId="478"/>
          <ac:picMkLst>
            <pc:docMk/>
            <pc:sldMk cId="2303848170" sldId="280"/>
            <ac:picMk id="40" creationId="{05C5242A-D0ED-493C-BEEF-345FA795419F}"/>
          </ac:picMkLst>
        </pc:picChg>
        <pc:picChg chg="del">
          <ac:chgData name="Thomas Stensitzki" userId="75cafe6b-2f2a-469b-85c4-eec3b9c972ba" providerId="ADAL" clId="{F17CDA02-90FA-4D24-97F8-535DD3CEBAF4}" dt="2019-06-22T14:55:22.568" v="3333" actId="478"/>
          <ac:picMkLst>
            <pc:docMk/>
            <pc:sldMk cId="2303848170" sldId="280"/>
            <ac:picMk id="41" creationId="{1CE932F6-C7FC-4D0D-9461-7748E57DE9BE}"/>
          </ac:picMkLst>
        </pc:picChg>
        <pc:picChg chg="del">
          <ac:chgData name="Thomas Stensitzki" userId="75cafe6b-2f2a-469b-85c4-eec3b9c972ba" providerId="ADAL" clId="{F17CDA02-90FA-4D24-97F8-535DD3CEBAF4}" dt="2019-06-22T14:55:22.568" v="3333" actId="478"/>
          <ac:picMkLst>
            <pc:docMk/>
            <pc:sldMk cId="2303848170" sldId="280"/>
            <ac:picMk id="42" creationId="{1AA56794-B66E-43B3-AC2B-40E943AE072B}"/>
          </ac:picMkLst>
        </pc:picChg>
        <pc:picChg chg="del">
          <ac:chgData name="Thomas Stensitzki" userId="75cafe6b-2f2a-469b-85c4-eec3b9c972ba" providerId="ADAL" clId="{F17CDA02-90FA-4D24-97F8-535DD3CEBAF4}" dt="2019-06-22T14:55:22.568" v="3333" actId="478"/>
          <ac:picMkLst>
            <pc:docMk/>
            <pc:sldMk cId="2303848170" sldId="280"/>
            <ac:picMk id="43" creationId="{50E8E2DF-3DD0-41CB-ACA5-3A79514B6095}"/>
          </ac:picMkLst>
        </pc:picChg>
        <pc:picChg chg="del">
          <ac:chgData name="Thomas Stensitzki" userId="75cafe6b-2f2a-469b-85c4-eec3b9c972ba" providerId="ADAL" clId="{F17CDA02-90FA-4D24-97F8-535DD3CEBAF4}" dt="2019-06-22T14:55:22.568" v="3333" actId="478"/>
          <ac:picMkLst>
            <pc:docMk/>
            <pc:sldMk cId="2303848170" sldId="280"/>
            <ac:picMk id="44" creationId="{100A6A78-428E-489A-AB3A-7805E6070FB6}"/>
          </ac:picMkLst>
        </pc:picChg>
        <pc:picChg chg="del">
          <ac:chgData name="Thomas Stensitzki" userId="75cafe6b-2f2a-469b-85c4-eec3b9c972ba" providerId="ADAL" clId="{F17CDA02-90FA-4D24-97F8-535DD3CEBAF4}" dt="2019-06-22T14:55:22.568" v="3333" actId="478"/>
          <ac:picMkLst>
            <pc:docMk/>
            <pc:sldMk cId="2303848170" sldId="280"/>
            <ac:picMk id="45" creationId="{46D78686-E8ED-4125-94DF-DD3E5F350B13}"/>
          </ac:picMkLst>
        </pc:picChg>
        <pc:picChg chg="del">
          <ac:chgData name="Thomas Stensitzki" userId="75cafe6b-2f2a-469b-85c4-eec3b9c972ba" providerId="ADAL" clId="{F17CDA02-90FA-4D24-97F8-535DD3CEBAF4}" dt="2019-06-22T14:55:22.568" v="3333" actId="478"/>
          <ac:picMkLst>
            <pc:docMk/>
            <pc:sldMk cId="2303848170" sldId="280"/>
            <ac:picMk id="46" creationId="{9834BD0F-2FAD-45E2-90AE-9A7BDB3F5C79}"/>
          </ac:picMkLst>
        </pc:picChg>
        <pc:picChg chg="del">
          <ac:chgData name="Thomas Stensitzki" userId="75cafe6b-2f2a-469b-85c4-eec3b9c972ba" providerId="ADAL" clId="{F17CDA02-90FA-4D24-97F8-535DD3CEBAF4}" dt="2019-06-22T14:55:22.568" v="3333" actId="478"/>
          <ac:picMkLst>
            <pc:docMk/>
            <pc:sldMk cId="2303848170" sldId="280"/>
            <ac:picMk id="47" creationId="{8EA489B6-E4EA-426C-8539-4477DD7C2B2E}"/>
          </ac:picMkLst>
        </pc:picChg>
        <pc:picChg chg="del">
          <ac:chgData name="Thomas Stensitzki" userId="75cafe6b-2f2a-469b-85c4-eec3b9c972ba" providerId="ADAL" clId="{F17CDA02-90FA-4D24-97F8-535DD3CEBAF4}" dt="2019-06-22T14:55:22.568" v="3333" actId="478"/>
          <ac:picMkLst>
            <pc:docMk/>
            <pc:sldMk cId="2303848170" sldId="280"/>
            <ac:picMk id="48" creationId="{C25009B8-F9D0-4CCA-8212-5CA3DC5B0047}"/>
          </ac:picMkLst>
        </pc:picChg>
        <pc:picChg chg="del">
          <ac:chgData name="Thomas Stensitzki" userId="75cafe6b-2f2a-469b-85c4-eec3b9c972ba" providerId="ADAL" clId="{F17CDA02-90FA-4D24-97F8-535DD3CEBAF4}" dt="2019-06-22T14:55:22.568" v="3333" actId="478"/>
          <ac:picMkLst>
            <pc:docMk/>
            <pc:sldMk cId="2303848170" sldId="280"/>
            <ac:picMk id="49" creationId="{DD1D7A7B-14CC-4B86-B149-91BEBE7A03A4}"/>
          </ac:picMkLst>
        </pc:picChg>
      </pc:sldChg>
      <pc:sldChg chg="addSp delSp modSp add delAnim modAnim">
        <pc:chgData name="Thomas Stensitzki" userId="75cafe6b-2f2a-469b-85c4-eec3b9c972ba" providerId="ADAL" clId="{F17CDA02-90FA-4D24-97F8-535DD3CEBAF4}" dt="2019-06-23T20:28:16.142" v="9862" actId="20577"/>
        <pc:sldMkLst>
          <pc:docMk/>
          <pc:sldMk cId="4194531626" sldId="281"/>
        </pc:sldMkLst>
        <pc:spChg chg="mod">
          <ac:chgData name="Thomas Stensitzki" userId="75cafe6b-2f2a-469b-85c4-eec3b9c972ba" providerId="ADAL" clId="{F17CDA02-90FA-4D24-97F8-535DD3CEBAF4}" dt="2019-06-23T20:28:16.142" v="9862" actId="20577"/>
          <ac:spMkLst>
            <pc:docMk/>
            <pc:sldMk cId="4194531626" sldId="281"/>
            <ac:spMk id="14" creationId="{F2CD2A51-0F8F-4617-BD22-C4A2B0C6256C}"/>
          </ac:spMkLst>
        </pc:spChg>
        <pc:spChg chg="add mod">
          <ac:chgData name="Thomas Stensitzki" userId="75cafe6b-2f2a-469b-85c4-eec3b9c972ba" providerId="ADAL" clId="{F17CDA02-90FA-4D24-97F8-535DD3CEBAF4}" dt="2019-06-23T20:26:28.822" v="9847" actId="1035"/>
          <ac:spMkLst>
            <pc:docMk/>
            <pc:sldMk cId="4194531626" sldId="281"/>
            <ac:spMk id="26" creationId="{DCB8E933-A5C7-444D-B0E3-432AB6D98F57}"/>
          </ac:spMkLst>
        </pc:spChg>
        <pc:grpChg chg="del">
          <ac:chgData name="Thomas Stensitzki" userId="75cafe6b-2f2a-469b-85c4-eec3b9c972ba" providerId="ADAL" clId="{F17CDA02-90FA-4D24-97F8-535DD3CEBAF4}" dt="2019-06-22T15:16:45.715" v="4805" actId="478"/>
          <ac:grpSpMkLst>
            <pc:docMk/>
            <pc:sldMk cId="4194531626" sldId="281"/>
            <ac:grpSpMk id="3" creationId="{7327FD88-4043-425C-9015-59D025C20E03}"/>
          </ac:grpSpMkLst>
        </pc:grpChg>
        <pc:grpChg chg="del">
          <ac:chgData name="Thomas Stensitzki" userId="75cafe6b-2f2a-469b-85c4-eec3b9c972ba" providerId="ADAL" clId="{F17CDA02-90FA-4D24-97F8-535DD3CEBAF4}" dt="2019-06-22T15:16:45.715" v="4805" actId="478"/>
          <ac:grpSpMkLst>
            <pc:docMk/>
            <pc:sldMk cId="4194531626" sldId="281"/>
            <ac:grpSpMk id="7" creationId="{2F160A99-7989-4A57-8DB5-9B807AD8FBFA}"/>
          </ac:grpSpMkLst>
        </pc:grpChg>
        <pc:grpChg chg="del">
          <ac:chgData name="Thomas Stensitzki" userId="75cafe6b-2f2a-469b-85c4-eec3b9c972ba" providerId="ADAL" clId="{F17CDA02-90FA-4D24-97F8-535DD3CEBAF4}" dt="2019-06-22T15:16:45.715" v="4805" actId="478"/>
          <ac:grpSpMkLst>
            <pc:docMk/>
            <pc:sldMk cId="4194531626" sldId="281"/>
            <ac:grpSpMk id="8" creationId="{6DE27620-F891-4A68-AFE1-3D271A6F5F43}"/>
          </ac:grpSpMkLst>
        </pc:grpChg>
        <pc:picChg chg="del">
          <ac:chgData name="Thomas Stensitzki" userId="75cafe6b-2f2a-469b-85c4-eec3b9c972ba" providerId="ADAL" clId="{F17CDA02-90FA-4D24-97F8-535DD3CEBAF4}" dt="2019-06-22T15:16:49.211" v="4806" actId="478"/>
          <ac:picMkLst>
            <pc:docMk/>
            <pc:sldMk cId="4194531626" sldId="281"/>
            <ac:picMk id="2" creationId="{25E45A96-4729-4855-AAC3-32E641A2F329}"/>
          </ac:picMkLst>
        </pc:picChg>
        <pc:picChg chg="add mod">
          <ac:chgData name="Thomas Stensitzki" userId="75cafe6b-2f2a-469b-85c4-eec3b9c972ba" providerId="ADAL" clId="{F17CDA02-90FA-4D24-97F8-535DD3CEBAF4}" dt="2019-06-22T15:24:01.344" v="5180" actId="1037"/>
          <ac:picMkLst>
            <pc:docMk/>
            <pc:sldMk cId="4194531626" sldId="281"/>
            <ac:picMk id="25" creationId="{D5D95723-6437-4A7E-B274-AB5C19790B66}"/>
          </ac:picMkLst>
        </pc:picChg>
      </pc:sldChg>
      <pc:sldChg chg="modSp add modAnim">
        <pc:chgData name="Thomas Stensitzki" userId="75cafe6b-2f2a-469b-85c4-eec3b9c972ba" providerId="ADAL" clId="{F17CDA02-90FA-4D24-97F8-535DD3CEBAF4}" dt="2019-06-23T20:28:44.171" v="9864"/>
        <pc:sldMkLst>
          <pc:docMk/>
          <pc:sldMk cId="817877462" sldId="282"/>
        </pc:sldMkLst>
        <pc:spChg chg="mod">
          <ac:chgData name="Thomas Stensitzki" userId="75cafe6b-2f2a-469b-85c4-eec3b9c972ba" providerId="ADAL" clId="{F17CDA02-90FA-4D24-97F8-535DD3CEBAF4}" dt="2019-06-22T15:40:15.062" v="6159" actId="6549"/>
          <ac:spMkLst>
            <pc:docMk/>
            <pc:sldMk cId="817877462" sldId="282"/>
            <ac:spMk id="14" creationId="{F2CD2A51-0F8F-4617-BD22-C4A2B0C6256C}"/>
          </ac:spMkLst>
        </pc:spChg>
        <pc:spChg chg="mod">
          <ac:chgData name="Thomas Stensitzki" userId="75cafe6b-2f2a-469b-85c4-eec3b9c972ba" providerId="ADAL" clId="{F17CDA02-90FA-4D24-97F8-535DD3CEBAF4}" dt="2019-06-22T15:40:54.731" v="6258" actId="113"/>
          <ac:spMkLst>
            <pc:docMk/>
            <pc:sldMk cId="817877462" sldId="282"/>
            <ac:spMk id="26" creationId="{DCB8E933-A5C7-444D-B0E3-432AB6D98F57}"/>
          </ac:spMkLst>
        </pc:spChg>
      </pc:sldChg>
      <pc:sldChg chg="addSp delSp modSp add modAnim">
        <pc:chgData name="Thomas Stensitzki" userId="75cafe6b-2f2a-469b-85c4-eec3b9c972ba" providerId="ADAL" clId="{F17CDA02-90FA-4D24-97F8-535DD3CEBAF4}" dt="2019-06-23T20:43:59.057" v="10012"/>
        <pc:sldMkLst>
          <pc:docMk/>
          <pc:sldMk cId="2288276608" sldId="283"/>
        </pc:sldMkLst>
        <pc:spChg chg="mod">
          <ac:chgData name="Thomas Stensitzki" userId="75cafe6b-2f2a-469b-85c4-eec3b9c972ba" providerId="ADAL" clId="{F17CDA02-90FA-4D24-97F8-535DD3CEBAF4}" dt="2019-06-23T20:29:21.459" v="9876" actId="6549"/>
          <ac:spMkLst>
            <pc:docMk/>
            <pc:sldMk cId="2288276608" sldId="283"/>
            <ac:spMk id="14" creationId="{F2CD2A51-0F8F-4617-BD22-C4A2B0C6256C}"/>
          </ac:spMkLst>
        </pc:spChg>
        <pc:spChg chg="mod">
          <ac:chgData name="Thomas Stensitzki" userId="75cafe6b-2f2a-469b-85c4-eec3b9c972ba" providerId="ADAL" clId="{F17CDA02-90FA-4D24-97F8-535DD3CEBAF4}" dt="2019-06-23T20:34:32.832" v="9957" actId="208"/>
          <ac:spMkLst>
            <pc:docMk/>
            <pc:sldMk cId="2288276608" sldId="283"/>
            <ac:spMk id="18" creationId="{77F6CF57-75EF-4B08-9B77-9DB61A0DADA3}"/>
          </ac:spMkLst>
        </pc:spChg>
        <pc:spChg chg="mod">
          <ac:chgData name="Thomas Stensitzki" userId="75cafe6b-2f2a-469b-85c4-eec3b9c972ba" providerId="ADAL" clId="{F17CDA02-90FA-4D24-97F8-535DD3CEBAF4}" dt="2019-06-23T20:37:30.903" v="9981" actId="14100"/>
          <ac:spMkLst>
            <pc:docMk/>
            <pc:sldMk cId="2288276608" sldId="283"/>
            <ac:spMk id="19" creationId="{9AE8DCDC-E4B0-438B-9B2F-67BF183CF465}"/>
          </ac:spMkLst>
        </pc:spChg>
        <pc:spChg chg="mod">
          <ac:chgData name="Thomas Stensitzki" userId="75cafe6b-2f2a-469b-85c4-eec3b9c972ba" providerId="ADAL" clId="{F17CDA02-90FA-4D24-97F8-535DD3CEBAF4}" dt="2019-06-23T20:37:12.354" v="9979" actId="688"/>
          <ac:spMkLst>
            <pc:docMk/>
            <pc:sldMk cId="2288276608" sldId="283"/>
            <ac:spMk id="20" creationId="{43582B71-A0C7-4E93-9AA5-63CCB0922B74}"/>
          </ac:spMkLst>
        </pc:spChg>
        <pc:spChg chg="mod">
          <ac:chgData name="Thomas Stensitzki" userId="75cafe6b-2f2a-469b-85c4-eec3b9c972ba" providerId="ADAL" clId="{F17CDA02-90FA-4D24-97F8-535DD3CEBAF4}" dt="2019-06-23T20:34:56.960" v="9961" actId="14100"/>
          <ac:spMkLst>
            <pc:docMk/>
            <pc:sldMk cId="2288276608" sldId="283"/>
            <ac:spMk id="21" creationId="{8B1D5B0F-A43C-4779-8BD3-2DD9B1DB05FB}"/>
          </ac:spMkLst>
        </pc:spChg>
        <pc:spChg chg="mod">
          <ac:chgData name="Thomas Stensitzki" userId="75cafe6b-2f2a-469b-85c4-eec3b9c972ba" providerId="ADAL" clId="{F17CDA02-90FA-4D24-97F8-535DD3CEBAF4}" dt="2019-06-23T20:34:21.902" v="9956" actId="208"/>
          <ac:spMkLst>
            <pc:docMk/>
            <pc:sldMk cId="2288276608" sldId="283"/>
            <ac:spMk id="22" creationId="{A6459B0F-0BF7-4B66-8BA8-43FAAB30FC68}"/>
          </ac:spMkLst>
        </pc:spChg>
        <pc:spChg chg="mod">
          <ac:chgData name="Thomas Stensitzki" userId="75cafe6b-2f2a-469b-85c4-eec3b9c972ba" providerId="ADAL" clId="{F17CDA02-90FA-4D24-97F8-535DD3CEBAF4}" dt="2019-06-23T20:35:56.802" v="9969" actId="208"/>
          <ac:spMkLst>
            <pc:docMk/>
            <pc:sldMk cId="2288276608" sldId="283"/>
            <ac:spMk id="23" creationId="{D319C4EA-0C2D-4DA4-9321-AFF0038D29DD}"/>
          </ac:spMkLst>
        </pc:spChg>
        <pc:spChg chg="mod">
          <ac:chgData name="Thomas Stensitzki" userId="75cafe6b-2f2a-469b-85c4-eec3b9c972ba" providerId="ADAL" clId="{F17CDA02-90FA-4D24-97F8-535DD3CEBAF4}" dt="2019-06-22T16:07:01.549" v="7731" actId="6549"/>
          <ac:spMkLst>
            <pc:docMk/>
            <pc:sldMk cId="2288276608" sldId="283"/>
            <ac:spMk id="26" creationId="{DCB8E933-A5C7-444D-B0E3-432AB6D98F57}"/>
          </ac:spMkLst>
        </pc:spChg>
        <pc:spChg chg="mod">
          <ac:chgData name="Thomas Stensitzki" userId="75cafe6b-2f2a-469b-85c4-eec3b9c972ba" providerId="ADAL" clId="{F17CDA02-90FA-4D24-97F8-535DD3CEBAF4}" dt="2019-06-23T20:36:54.721" v="9977" actId="122"/>
          <ac:spMkLst>
            <pc:docMk/>
            <pc:sldMk cId="2288276608" sldId="283"/>
            <ac:spMk id="27" creationId="{07CC92AF-F0BF-441A-AB01-36816FCBFD9F}"/>
          </ac:spMkLst>
        </pc:spChg>
        <pc:spChg chg="mod">
          <ac:chgData name="Thomas Stensitzki" userId="75cafe6b-2f2a-469b-85c4-eec3b9c972ba" providerId="ADAL" clId="{F17CDA02-90FA-4D24-97F8-535DD3CEBAF4}" dt="2019-06-23T20:31:56.272" v="9936" actId="1076"/>
          <ac:spMkLst>
            <pc:docMk/>
            <pc:sldMk cId="2288276608" sldId="283"/>
            <ac:spMk id="28" creationId="{82B672B6-1E4B-48D8-A562-892E8EFFF87E}"/>
          </ac:spMkLst>
        </pc:spChg>
        <pc:spChg chg="mod">
          <ac:chgData name="Thomas Stensitzki" userId="75cafe6b-2f2a-469b-85c4-eec3b9c972ba" providerId="ADAL" clId="{F17CDA02-90FA-4D24-97F8-535DD3CEBAF4}" dt="2019-06-23T20:31:45.860" v="9934" actId="1076"/>
          <ac:spMkLst>
            <pc:docMk/>
            <pc:sldMk cId="2288276608" sldId="283"/>
            <ac:spMk id="29" creationId="{DC761B6E-0A52-4F0A-91EB-FE2D87296AE0}"/>
          </ac:spMkLst>
        </pc:spChg>
        <pc:spChg chg="mod">
          <ac:chgData name="Thomas Stensitzki" userId="75cafe6b-2f2a-469b-85c4-eec3b9c972ba" providerId="ADAL" clId="{F17CDA02-90FA-4D24-97F8-535DD3CEBAF4}" dt="2019-06-23T20:32:03.150" v="9937" actId="1076"/>
          <ac:spMkLst>
            <pc:docMk/>
            <pc:sldMk cId="2288276608" sldId="283"/>
            <ac:spMk id="30" creationId="{6BD791D3-FD26-456F-ACE9-BB40A7FE304C}"/>
          </ac:spMkLst>
        </pc:spChg>
        <pc:spChg chg="mod">
          <ac:chgData name="Thomas Stensitzki" userId="75cafe6b-2f2a-469b-85c4-eec3b9c972ba" providerId="ADAL" clId="{F17CDA02-90FA-4D24-97F8-535DD3CEBAF4}" dt="2019-06-23T20:32:10.238" v="9939" actId="1076"/>
          <ac:spMkLst>
            <pc:docMk/>
            <pc:sldMk cId="2288276608" sldId="283"/>
            <ac:spMk id="31" creationId="{9A18C30C-5566-4231-A543-CE3915C259B2}"/>
          </ac:spMkLst>
        </pc:spChg>
        <pc:spChg chg="mod">
          <ac:chgData name="Thomas Stensitzki" userId="75cafe6b-2f2a-469b-85c4-eec3b9c972ba" providerId="ADAL" clId="{F17CDA02-90FA-4D24-97F8-535DD3CEBAF4}" dt="2019-06-23T20:33:57.546" v="9954" actId="122"/>
          <ac:spMkLst>
            <pc:docMk/>
            <pc:sldMk cId="2288276608" sldId="283"/>
            <ac:spMk id="33" creationId="{30AB3482-4BA5-47C1-855F-817BA9F6CD82}"/>
          </ac:spMkLst>
        </pc:spChg>
        <pc:spChg chg="mod">
          <ac:chgData name="Thomas Stensitzki" userId="75cafe6b-2f2a-469b-85c4-eec3b9c972ba" providerId="ADAL" clId="{F17CDA02-90FA-4D24-97F8-535DD3CEBAF4}" dt="2019-06-23T20:36:50.622" v="9976" actId="122"/>
          <ac:spMkLst>
            <pc:docMk/>
            <pc:sldMk cId="2288276608" sldId="283"/>
            <ac:spMk id="35" creationId="{61568F64-47B8-40F3-B0C1-D188616E9491}"/>
          </ac:spMkLst>
        </pc:spChg>
        <pc:spChg chg="mod ord">
          <ac:chgData name="Thomas Stensitzki" userId="75cafe6b-2f2a-469b-85c4-eec3b9c972ba" providerId="ADAL" clId="{F17CDA02-90FA-4D24-97F8-535DD3CEBAF4}" dt="2019-06-23T20:38:30.559" v="9989" actId="166"/>
          <ac:spMkLst>
            <pc:docMk/>
            <pc:sldMk cId="2288276608" sldId="283"/>
            <ac:spMk id="42" creationId="{66D1E791-40EB-4F3C-97F0-50276A98EAB7}"/>
          </ac:spMkLst>
        </pc:spChg>
        <pc:spChg chg="mod ord">
          <ac:chgData name="Thomas Stensitzki" userId="75cafe6b-2f2a-469b-85c4-eec3b9c972ba" providerId="ADAL" clId="{F17CDA02-90FA-4D24-97F8-535DD3CEBAF4}" dt="2019-06-23T20:38:34.690" v="9990" actId="166"/>
          <ac:spMkLst>
            <pc:docMk/>
            <pc:sldMk cId="2288276608" sldId="283"/>
            <ac:spMk id="45" creationId="{ACD888BE-9354-4C17-983B-4CA6C8E89EAF}"/>
          </ac:spMkLst>
        </pc:spChg>
        <pc:spChg chg="mod">
          <ac:chgData name="Thomas Stensitzki" userId="75cafe6b-2f2a-469b-85c4-eec3b9c972ba" providerId="ADAL" clId="{F17CDA02-90FA-4D24-97F8-535DD3CEBAF4}" dt="2019-06-23T20:35:15.721" v="9963" actId="1076"/>
          <ac:spMkLst>
            <pc:docMk/>
            <pc:sldMk cId="2288276608" sldId="283"/>
            <ac:spMk id="46" creationId="{2E8AA5ED-95DF-425C-B559-88D0F53E31ED}"/>
          </ac:spMkLst>
        </pc:spChg>
        <pc:grpChg chg="add mod">
          <ac:chgData name="Thomas Stensitzki" userId="75cafe6b-2f2a-469b-85c4-eec3b9c972ba" providerId="ADAL" clId="{F17CDA02-90FA-4D24-97F8-535DD3CEBAF4}" dt="2019-06-23T20:31:33.070" v="9933" actId="1076"/>
          <ac:grpSpMkLst>
            <pc:docMk/>
            <pc:sldMk cId="2288276608" sldId="283"/>
            <ac:grpSpMk id="17" creationId="{D0F66028-530C-4816-9AAE-218C5ED4C7EE}"/>
          </ac:grpSpMkLst>
        </pc:grpChg>
        <pc:picChg chg="add mod">
          <ac:chgData name="Thomas Stensitzki" userId="75cafe6b-2f2a-469b-85c4-eec3b9c972ba" providerId="ADAL" clId="{F17CDA02-90FA-4D24-97F8-535DD3CEBAF4}" dt="2019-06-23T20:32:25.320" v="9944" actId="1076"/>
          <ac:picMkLst>
            <pc:docMk/>
            <pc:sldMk cId="2288276608" sldId="283"/>
            <ac:picMk id="11" creationId="{C306D6CA-5F22-4DC9-9BE6-2332697248BE}"/>
          </ac:picMkLst>
        </pc:picChg>
        <pc:picChg chg="add">
          <ac:chgData name="Thomas Stensitzki" userId="75cafe6b-2f2a-469b-85c4-eec3b9c972ba" providerId="ADAL" clId="{F17CDA02-90FA-4D24-97F8-535DD3CEBAF4}" dt="2019-06-22T15:41:46.197" v="6332"/>
          <ac:picMkLst>
            <pc:docMk/>
            <pc:sldMk cId="2288276608" sldId="283"/>
            <ac:picMk id="16" creationId="{AECD4512-03AB-4870-9EAD-D60D0E53E5F2}"/>
          </ac:picMkLst>
        </pc:picChg>
        <pc:picChg chg="del">
          <ac:chgData name="Thomas Stensitzki" userId="75cafe6b-2f2a-469b-85c4-eec3b9c972ba" providerId="ADAL" clId="{F17CDA02-90FA-4D24-97F8-535DD3CEBAF4}" dt="2019-06-22T15:41:45.326" v="6331" actId="478"/>
          <ac:picMkLst>
            <pc:docMk/>
            <pc:sldMk cId="2288276608" sldId="283"/>
            <ac:picMk id="25" creationId="{D5D95723-6437-4A7E-B274-AB5C19790B66}"/>
          </ac:picMkLst>
        </pc:picChg>
        <pc:picChg chg="mod">
          <ac:chgData name="Thomas Stensitzki" userId="75cafe6b-2f2a-469b-85c4-eec3b9c972ba" providerId="ADAL" clId="{F17CDA02-90FA-4D24-97F8-535DD3CEBAF4}" dt="2019-06-23T20:32:03.150" v="9937" actId="1076"/>
          <ac:picMkLst>
            <pc:docMk/>
            <pc:sldMk cId="2288276608" sldId="283"/>
            <ac:picMk id="38" creationId="{44E1146F-D7A5-47C6-9D79-13666F39465F}"/>
          </ac:picMkLst>
        </pc:picChg>
        <pc:picChg chg="mod">
          <ac:chgData name="Thomas Stensitzki" userId="75cafe6b-2f2a-469b-85c4-eec3b9c972ba" providerId="ADAL" clId="{F17CDA02-90FA-4D24-97F8-535DD3CEBAF4}" dt="2019-06-23T20:31:56.272" v="9936" actId="1076"/>
          <ac:picMkLst>
            <pc:docMk/>
            <pc:sldMk cId="2288276608" sldId="283"/>
            <ac:picMk id="39" creationId="{72156658-4F0B-42BB-8DCC-B9CB1D911AA5}"/>
          </ac:picMkLst>
        </pc:picChg>
        <pc:picChg chg="mod ord">
          <ac:chgData name="Thomas Stensitzki" userId="75cafe6b-2f2a-469b-85c4-eec3b9c972ba" providerId="ADAL" clId="{F17CDA02-90FA-4D24-97F8-535DD3CEBAF4}" dt="2019-06-23T20:38:30.559" v="9989" actId="166"/>
          <ac:picMkLst>
            <pc:docMk/>
            <pc:sldMk cId="2288276608" sldId="283"/>
            <ac:picMk id="43" creationId="{29454D93-C6D4-498F-9D57-454C9182D97B}"/>
          </ac:picMkLst>
        </pc:picChg>
        <pc:picChg chg="mod">
          <ac:chgData name="Thomas Stensitzki" userId="75cafe6b-2f2a-469b-85c4-eec3b9c972ba" providerId="ADAL" clId="{F17CDA02-90FA-4D24-97F8-535DD3CEBAF4}" dt="2019-06-23T20:38:39.863" v="9991" actId="1076"/>
          <ac:picMkLst>
            <pc:docMk/>
            <pc:sldMk cId="2288276608" sldId="283"/>
            <ac:picMk id="47" creationId="{73160F90-F15B-4349-B412-F0E3B8875CBD}"/>
          </ac:picMkLst>
        </pc:picChg>
        <pc:picChg chg="add mod">
          <ac:chgData name="Thomas Stensitzki" userId="75cafe6b-2f2a-469b-85c4-eec3b9c972ba" providerId="ADAL" clId="{F17CDA02-90FA-4D24-97F8-535DD3CEBAF4}" dt="2019-06-22T16:07:20.672" v="7733" actId="1076"/>
          <ac:picMkLst>
            <pc:docMk/>
            <pc:sldMk cId="2288276608" sldId="283"/>
            <ac:picMk id="48" creationId="{181E1DEE-7D33-4DB9-83CA-2A60CE24AE44}"/>
          </ac:picMkLst>
        </pc:picChg>
        <pc:picChg chg="add mod">
          <ac:chgData name="Thomas Stensitzki" userId="75cafe6b-2f2a-469b-85c4-eec3b9c972ba" providerId="ADAL" clId="{F17CDA02-90FA-4D24-97F8-535DD3CEBAF4}" dt="2019-06-22T16:07:31.958" v="7736" actId="1076"/>
          <ac:picMkLst>
            <pc:docMk/>
            <pc:sldMk cId="2288276608" sldId="283"/>
            <ac:picMk id="49" creationId="{9A4DBC66-B615-475E-98B8-230061BDAB2C}"/>
          </ac:picMkLst>
        </pc:picChg>
        <pc:picChg chg="add mod">
          <ac:chgData name="Thomas Stensitzki" userId="75cafe6b-2f2a-469b-85c4-eec3b9c972ba" providerId="ADAL" clId="{F17CDA02-90FA-4D24-97F8-535DD3CEBAF4}" dt="2019-06-22T16:07:39.339" v="7738" actId="1076"/>
          <ac:picMkLst>
            <pc:docMk/>
            <pc:sldMk cId="2288276608" sldId="283"/>
            <ac:picMk id="50" creationId="{DCFFBC18-FB85-4D64-831F-6784A47DA18F}"/>
          </ac:picMkLst>
        </pc:picChg>
        <pc:picChg chg="add mod">
          <ac:chgData name="Thomas Stensitzki" userId="75cafe6b-2f2a-469b-85c4-eec3b9c972ba" providerId="ADAL" clId="{F17CDA02-90FA-4D24-97F8-535DD3CEBAF4}" dt="2019-06-22T16:07:49.033" v="7741" actId="1076"/>
          <ac:picMkLst>
            <pc:docMk/>
            <pc:sldMk cId="2288276608" sldId="283"/>
            <ac:picMk id="51" creationId="{75618FD4-8971-463D-8727-2A75C3829910}"/>
          </ac:picMkLst>
        </pc:picChg>
        <pc:picChg chg="add mod">
          <ac:chgData name="Thomas Stensitzki" userId="75cafe6b-2f2a-469b-85c4-eec3b9c972ba" providerId="ADAL" clId="{F17CDA02-90FA-4D24-97F8-535DD3CEBAF4}" dt="2019-06-22T16:07:55.870" v="7743" actId="1076"/>
          <ac:picMkLst>
            <pc:docMk/>
            <pc:sldMk cId="2288276608" sldId="283"/>
            <ac:picMk id="52" creationId="{9FD8E672-4E26-4C28-AE06-6A8E75B91025}"/>
          </ac:picMkLst>
        </pc:picChg>
        <pc:picChg chg="add mod">
          <ac:chgData name="Thomas Stensitzki" userId="75cafe6b-2f2a-469b-85c4-eec3b9c972ba" providerId="ADAL" clId="{F17CDA02-90FA-4D24-97F8-535DD3CEBAF4}" dt="2019-06-23T20:29:50.937" v="9879" actId="1076"/>
          <ac:picMkLst>
            <pc:docMk/>
            <pc:sldMk cId="2288276608" sldId="283"/>
            <ac:picMk id="53" creationId="{BE920A97-E1A8-4BE9-98B9-C8A0E03E8F41}"/>
          </ac:picMkLst>
        </pc:picChg>
        <pc:cxnChg chg="mod">
          <ac:chgData name="Thomas Stensitzki" userId="75cafe6b-2f2a-469b-85c4-eec3b9c972ba" providerId="ADAL" clId="{F17CDA02-90FA-4D24-97F8-535DD3CEBAF4}" dt="2019-06-23T20:38:20.003" v="9988" actId="1076"/>
          <ac:cxnSpMkLst>
            <pc:docMk/>
            <pc:sldMk cId="2288276608" sldId="283"/>
            <ac:cxnSpMk id="44" creationId="{8EFF4900-86E7-4BC1-9D32-5FB53A125D44}"/>
          </ac:cxnSpMkLst>
        </pc:cxnChg>
      </pc:sldChg>
      <pc:sldChg chg="addSp delSp modSp add delAnim modAnim">
        <pc:chgData name="Thomas Stensitzki" userId="75cafe6b-2f2a-469b-85c4-eec3b9c972ba" providerId="ADAL" clId="{F17CDA02-90FA-4D24-97F8-535DD3CEBAF4}" dt="2019-06-23T20:57:11.464" v="10016"/>
        <pc:sldMkLst>
          <pc:docMk/>
          <pc:sldMk cId="1437983823" sldId="284"/>
        </pc:sldMkLst>
        <pc:spChg chg="mod">
          <ac:chgData name="Thomas Stensitzki" userId="75cafe6b-2f2a-469b-85c4-eec3b9c972ba" providerId="ADAL" clId="{F17CDA02-90FA-4D24-97F8-535DD3CEBAF4}" dt="2019-06-22T15:51:13.050" v="7021" actId="20577"/>
          <ac:spMkLst>
            <pc:docMk/>
            <pc:sldMk cId="1437983823" sldId="284"/>
            <ac:spMk id="2" creationId="{00000000-0000-0000-0000-000000000000}"/>
          </ac:spMkLst>
        </pc:spChg>
        <pc:spChg chg="add mod">
          <ac:chgData name="Thomas Stensitzki" userId="75cafe6b-2f2a-469b-85c4-eec3b9c972ba" providerId="ADAL" clId="{F17CDA02-90FA-4D24-97F8-535DD3CEBAF4}" dt="2019-06-22T15:54:55.744" v="7276" actId="164"/>
          <ac:spMkLst>
            <pc:docMk/>
            <pc:sldMk cId="1437983823" sldId="284"/>
            <ac:spMk id="26" creationId="{C44C61CF-E809-4A26-931D-4ADC2B32B002}"/>
          </ac:spMkLst>
        </pc:spChg>
        <pc:spChg chg="add mod">
          <ac:chgData name="Thomas Stensitzki" userId="75cafe6b-2f2a-469b-85c4-eec3b9c972ba" providerId="ADAL" clId="{F17CDA02-90FA-4D24-97F8-535DD3CEBAF4}" dt="2019-06-22T15:57:32.350" v="7437" actId="164"/>
          <ac:spMkLst>
            <pc:docMk/>
            <pc:sldMk cId="1437983823" sldId="284"/>
            <ac:spMk id="27" creationId="{B19D2E1F-3922-4479-BF35-99FC649B2249}"/>
          </ac:spMkLst>
        </pc:spChg>
        <pc:spChg chg="add mod">
          <ac:chgData name="Thomas Stensitzki" userId="75cafe6b-2f2a-469b-85c4-eec3b9c972ba" providerId="ADAL" clId="{F17CDA02-90FA-4D24-97F8-535DD3CEBAF4}" dt="2019-06-22T15:53:40.040" v="7175" actId="164"/>
          <ac:spMkLst>
            <pc:docMk/>
            <pc:sldMk cId="1437983823" sldId="284"/>
            <ac:spMk id="28" creationId="{47400A8F-7CC0-4D4D-B644-A3580FDC669A}"/>
          </ac:spMkLst>
        </pc:spChg>
        <pc:spChg chg="add mod">
          <ac:chgData name="Thomas Stensitzki" userId="75cafe6b-2f2a-469b-85c4-eec3b9c972ba" providerId="ADAL" clId="{F17CDA02-90FA-4D24-97F8-535DD3CEBAF4}" dt="2019-06-22T16:04:05.447" v="7722" actId="164"/>
          <ac:spMkLst>
            <pc:docMk/>
            <pc:sldMk cId="1437983823" sldId="284"/>
            <ac:spMk id="29" creationId="{D7212CC7-BDB3-4C4C-9EFD-780E75DDAB88}"/>
          </ac:spMkLst>
        </pc:spChg>
        <pc:spChg chg="add mod">
          <ac:chgData name="Thomas Stensitzki" userId="75cafe6b-2f2a-469b-85c4-eec3b9c972ba" providerId="ADAL" clId="{F17CDA02-90FA-4D24-97F8-535DD3CEBAF4}" dt="2019-06-22T16:04:05.447" v="7722" actId="164"/>
          <ac:spMkLst>
            <pc:docMk/>
            <pc:sldMk cId="1437983823" sldId="284"/>
            <ac:spMk id="30" creationId="{723CD790-6BE8-4950-9460-C1E47A4343CB}"/>
          </ac:spMkLst>
        </pc:spChg>
        <pc:spChg chg="add mod">
          <ac:chgData name="Thomas Stensitzki" userId="75cafe6b-2f2a-469b-85c4-eec3b9c972ba" providerId="ADAL" clId="{F17CDA02-90FA-4D24-97F8-535DD3CEBAF4}" dt="2019-06-22T15:53:40.040" v="7175" actId="164"/>
          <ac:spMkLst>
            <pc:docMk/>
            <pc:sldMk cId="1437983823" sldId="284"/>
            <ac:spMk id="31" creationId="{32BC7C13-85DF-4135-8550-70F9BAA88181}"/>
          </ac:spMkLst>
        </pc:spChg>
        <pc:spChg chg="add mod">
          <ac:chgData name="Thomas Stensitzki" userId="75cafe6b-2f2a-469b-85c4-eec3b9c972ba" providerId="ADAL" clId="{F17CDA02-90FA-4D24-97F8-535DD3CEBAF4}" dt="2019-06-22T15:53:40.040" v="7175" actId="164"/>
          <ac:spMkLst>
            <pc:docMk/>
            <pc:sldMk cId="1437983823" sldId="284"/>
            <ac:spMk id="32" creationId="{735DEBFD-C0A4-4940-BEE7-885E71FB5BD0}"/>
          </ac:spMkLst>
        </pc:spChg>
        <pc:spChg chg="add mod">
          <ac:chgData name="Thomas Stensitzki" userId="75cafe6b-2f2a-469b-85c4-eec3b9c972ba" providerId="ADAL" clId="{F17CDA02-90FA-4D24-97F8-535DD3CEBAF4}" dt="2019-06-22T15:57:32.350" v="7437" actId="164"/>
          <ac:spMkLst>
            <pc:docMk/>
            <pc:sldMk cId="1437983823" sldId="284"/>
            <ac:spMk id="33" creationId="{165F03EC-A9A2-40A8-85E4-883F47AB2E7D}"/>
          </ac:spMkLst>
        </pc:spChg>
        <pc:spChg chg="add mod">
          <ac:chgData name="Thomas Stensitzki" userId="75cafe6b-2f2a-469b-85c4-eec3b9c972ba" providerId="ADAL" clId="{F17CDA02-90FA-4D24-97F8-535DD3CEBAF4}" dt="2019-06-22T15:54:55.744" v="7276" actId="164"/>
          <ac:spMkLst>
            <pc:docMk/>
            <pc:sldMk cId="1437983823" sldId="284"/>
            <ac:spMk id="34" creationId="{34313BB9-D6DE-4700-BECF-F9DB034832F1}"/>
          </ac:spMkLst>
        </pc:spChg>
        <pc:spChg chg="add mod">
          <ac:chgData name="Thomas Stensitzki" userId="75cafe6b-2f2a-469b-85c4-eec3b9c972ba" providerId="ADAL" clId="{F17CDA02-90FA-4D24-97F8-535DD3CEBAF4}" dt="2019-06-22T15:54:55.744" v="7276" actId="164"/>
          <ac:spMkLst>
            <pc:docMk/>
            <pc:sldMk cId="1437983823" sldId="284"/>
            <ac:spMk id="35" creationId="{2C8BE494-268D-4A94-A535-C5FE496EFBC2}"/>
          </ac:spMkLst>
        </pc:spChg>
        <pc:spChg chg="add mod">
          <ac:chgData name="Thomas Stensitzki" userId="75cafe6b-2f2a-469b-85c4-eec3b9c972ba" providerId="ADAL" clId="{F17CDA02-90FA-4D24-97F8-535DD3CEBAF4}" dt="2019-06-22T16:04:05.447" v="7722" actId="164"/>
          <ac:spMkLst>
            <pc:docMk/>
            <pc:sldMk cId="1437983823" sldId="284"/>
            <ac:spMk id="36" creationId="{D2E31C3B-D6D5-44C5-9BB3-C74CE551C72B}"/>
          </ac:spMkLst>
        </pc:spChg>
        <pc:spChg chg="add mod">
          <ac:chgData name="Thomas Stensitzki" userId="75cafe6b-2f2a-469b-85c4-eec3b9c972ba" providerId="ADAL" clId="{F17CDA02-90FA-4D24-97F8-535DD3CEBAF4}" dt="2019-06-22T15:57:32.350" v="7437" actId="164"/>
          <ac:spMkLst>
            <pc:docMk/>
            <pc:sldMk cId="1437983823" sldId="284"/>
            <ac:spMk id="37" creationId="{5C05D091-80EA-4512-A465-2F996AA52D03}"/>
          </ac:spMkLst>
        </pc:spChg>
        <pc:grpChg chg="del">
          <ac:chgData name="Thomas Stensitzki" userId="75cafe6b-2f2a-469b-85c4-eec3b9c972ba" providerId="ADAL" clId="{F17CDA02-90FA-4D24-97F8-535DD3CEBAF4}" dt="2019-06-22T15:51:19.254" v="7022" actId="478"/>
          <ac:grpSpMkLst>
            <pc:docMk/>
            <pc:sldMk cId="1437983823" sldId="284"/>
            <ac:grpSpMk id="3" creationId="{E2C84333-7398-41EB-838F-6CAE8ABE44BF}"/>
          </ac:grpSpMkLst>
        </pc:grpChg>
        <pc:grpChg chg="del">
          <ac:chgData name="Thomas Stensitzki" userId="75cafe6b-2f2a-469b-85c4-eec3b9c972ba" providerId="ADAL" clId="{F17CDA02-90FA-4D24-97F8-535DD3CEBAF4}" dt="2019-06-22T15:51:19.254" v="7022" actId="478"/>
          <ac:grpSpMkLst>
            <pc:docMk/>
            <pc:sldMk cId="1437983823" sldId="284"/>
            <ac:grpSpMk id="7" creationId="{5A1E4624-4736-4F0E-B620-7F11E8F3BADB}"/>
          </ac:grpSpMkLst>
        </pc:grpChg>
        <pc:grpChg chg="add mod">
          <ac:chgData name="Thomas Stensitzki" userId="75cafe6b-2f2a-469b-85c4-eec3b9c972ba" providerId="ADAL" clId="{F17CDA02-90FA-4D24-97F8-535DD3CEBAF4}" dt="2019-06-22T15:53:40.040" v="7175" actId="164"/>
          <ac:grpSpMkLst>
            <pc:docMk/>
            <pc:sldMk cId="1437983823" sldId="284"/>
            <ac:grpSpMk id="8" creationId="{77DAEFD1-6AC5-40F5-B377-C0E412D4D2DB}"/>
          </ac:grpSpMkLst>
        </pc:grpChg>
        <pc:grpChg chg="del">
          <ac:chgData name="Thomas Stensitzki" userId="75cafe6b-2f2a-469b-85c4-eec3b9c972ba" providerId="ADAL" clId="{F17CDA02-90FA-4D24-97F8-535DD3CEBAF4}" dt="2019-06-22T15:51:19.254" v="7022" actId="478"/>
          <ac:grpSpMkLst>
            <pc:docMk/>
            <pc:sldMk cId="1437983823" sldId="284"/>
            <ac:grpSpMk id="9" creationId="{65951CDD-D78F-4E23-BF6D-2B2D6B2241CB}"/>
          </ac:grpSpMkLst>
        </pc:grpChg>
        <pc:grpChg chg="del">
          <ac:chgData name="Thomas Stensitzki" userId="75cafe6b-2f2a-469b-85c4-eec3b9c972ba" providerId="ADAL" clId="{F17CDA02-90FA-4D24-97F8-535DD3CEBAF4}" dt="2019-06-22T15:51:19.254" v="7022" actId="478"/>
          <ac:grpSpMkLst>
            <pc:docMk/>
            <pc:sldMk cId="1437983823" sldId="284"/>
            <ac:grpSpMk id="25" creationId="{B6F2E0E3-1DDF-4115-89AF-54FC65A8B2AC}"/>
          </ac:grpSpMkLst>
        </pc:grpChg>
        <pc:grpChg chg="add mod">
          <ac:chgData name="Thomas Stensitzki" userId="75cafe6b-2f2a-469b-85c4-eec3b9c972ba" providerId="ADAL" clId="{F17CDA02-90FA-4D24-97F8-535DD3CEBAF4}" dt="2019-06-22T15:54:55.744" v="7276" actId="164"/>
          <ac:grpSpMkLst>
            <pc:docMk/>
            <pc:sldMk cId="1437983823" sldId="284"/>
            <ac:grpSpMk id="38" creationId="{21B371F7-AEEC-4D29-98F7-151A5F2FC0F5}"/>
          </ac:grpSpMkLst>
        </pc:grpChg>
        <pc:grpChg chg="add mod">
          <ac:chgData name="Thomas Stensitzki" userId="75cafe6b-2f2a-469b-85c4-eec3b9c972ba" providerId="ADAL" clId="{F17CDA02-90FA-4D24-97F8-535DD3CEBAF4}" dt="2019-06-22T15:57:32.350" v="7437" actId="164"/>
          <ac:grpSpMkLst>
            <pc:docMk/>
            <pc:sldMk cId="1437983823" sldId="284"/>
            <ac:grpSpMk id="39" creationId="{8B8A7CA8-6733-4064-99D4-F16E673E9FF1}"/>
          </ac:grpSpMkLst>
        </pc:grpChg>
        <pc:grpChg chg="add mod">
          <ac:chgData name="Thomas Stensitzki" userId="75cafe6b-2f2a-469b-85c4-eec3b9c972ba" providerId="ADAL" clId="{F17CDA02-90FA-4D24-97F8-535DD3CEBAF4}" dt="2019-06-22T16:04:05.447" v="7722" actId="164"/>
          <ac:grpSpMkLst>
            <pc:docMk/>
            <pc:sldMk cId="1437983823" sldId="284"/>
            <ac:grpSpMk id="40" creationId="{B5E646F6-E194-412B-B160-7A87ABB1A3C2}"/>
          </ac:grpSpMkLst>
        </pc:grpChg>
      </pc:sldChg>
      <pc:sldChg chg="modSp add">
        <pc:chgData name="Thomas Stensitzki" userId="75cafe6b-2f2a-469b-85c4-eec3b9c972ba" providerId="ADAL" clId="{F17CDA02-90FA-4D24-97F8-535DD3CEBAF4}" dt="2019-06-23T20:58:51.662" v="10067" actId="6549"/>
        <pc:sldMkLst>
          <pc:docMk/>
          <pc:sldMk cId="3531361882" sldId="286"/>
        </pc:sldMkLst>
        <pc:spChg chg="mod">
          <ac:chgData name="Thomas Stensitzki" userId="75cafe6b-2f2a-469b-85c4-eec3b9c972ba" providerId="ADAL" clId="{F17CDA02-90FA-4D24-97F8-535DD3CEBAF4}" dt="2019-06-22T16:15:15.162" v="8497" actId="5793"/>
          <ac:spMkLst>
            <pc:docMk/>
            <pc:sldMk cId="3531361882" sldId="286"/>
            <ac:spMk id="14" creationId="{F2CD2A51-0F8F-4617-BD22-C4A2B0C6256C}"/>
          </ac:spMkLst>
        </pc:spChg>
        <pc:spChg chg="mod">
          <ac:chgData name="Thomas Stensitzki" userId="75cafe6b-2f2a-469b-85c4-eec3b9c972ba" providerId="ADAL" clId="{F17CDA02-90FA-4D24-97F8-535DD3CEBAF4}" dt="2019-06-23T20:58:51.662" v="10067" actId="6549"/>
          <ac:spMkLst>
            <pc:docMk/>
            <pc:sldMk cId="3531361882" sldId="286"/>
            <ac:spMk id="26" creationId="{DCB8E933-A5C7-444D-B0E3-432AB6D98F57}"/>
          </ac:spMkLst>
        </pc:spChg>
      </pc:sldChg>
      <pc:sldChg chg="addSp delSp modSp add">
        <pc:chgData name="Thomas Stensitzki" userId="75cafe6b-2f2a-469b-85c4-eec3b9c972ba" providerId="ADAL" clId="{F17CDA02-90FA-4D24-97F8-535DD3CEBAF4}" dt="2019-06-26T13:42:34.253" v="10201" actId="20577"/>
        <pc:sldMkLst>
          <pc:docMk/>
          <pc:sldMk cId="2133112362" sldId="287"/>
        </pc:sldMkLst>
        <pc:spChg chg="mod">
          <ac:chgData name="Thomas Stensitzki" userId="75cafe6b-2f2a-469b-85c4-eec3b9c972ba" providerId="ADAL" clId="{F17CDA02-90FA-4D24-97F8-535DD3CEBAF4}" dt="2019-06-22T16:15:09.433" v="8490" actId="5793"/>
          <ac:spMkLst>
            <pc:docMk/>
            <pc:sldMk cId="2133112362" sldId="287"/>
            <ac:spMk id="14" creationId="{F2CD2A51-0F8F-4617-BD22-C4A2B0C6256C}"/>
          </ac:spMkLst>
        </pc:spChg>
        <pc:spChg chg="mod">
          <ac:chgData name="Thomas Stensitzki" userId="75cafe6b-2f2a-469b-85c4-eec3b9c972ba" providerId="ADAL" clId="{F17CDA02-90FA-4D24-97F8-535DD3CEBAF4}" dt="2019-06-26T13:42:34.253" v="10201" actId="20577"/>
          <ac:spMkLst>
            <pc:docMk/>
            <pc:sldMk cId="2133112362" sldId="287"/>
            <ac:spMk id="26" creationId="{DCB8E933-A5C7-444D-B0E3-432AB6D98F57}"/>
          </ac:spMkLst>
        </pc:spChg>
        <pc:picChg chg="add mod">
          <ac:chgData name="Thomas Stensitzki" userId="75cafe6b-2f2a-469b-85c4-eec3b9c972ba" providerId="ADAL" clId="{F17CDA02-90FA-4D24-97F8-535DD3CEBAF4}" dt="2019-06-22T16:15:31.853" v="8502" actId="1440"/>
          <ac:picMkLst>
            <pc:docMk/>
            <pc:sldMk cId="2133112362" sldId="287"/>
            <ac:picMk id="11" creationId="{D8A8476F-8314-47F7-BAF0-03A311203953}"/>
          </ac:picMkLst>
        </pc:picChg>
        <pc:picChg chg="del">
          <ac:chgData name="Thomas Stensitzki" userId="75cafe6b-2f2a-469b-85c4-eec3b9c972ba" providerId="ADAL" clId="{F17CDA02-90FA-4D24-97F8-535DD3CEBAF4}" dt="2019-06-22T16:15:19.463" v="8498" actId="478"/>
          <ac:picMkLst>
            <pc:docMk/>
            <pc:sldMk cId="2133112362" sldId="287"/>
            <ac:picMk id="48" creationId="{CDDA723C-8505-47D7-B395-61123367CB5B}"/>
          </ac:picMkLst>
        </pc:picChg>
      </pc:sldChg>
      <pc:sldChg chg="add">
        <pc:chgData name="Thomas Stensitzki" userId="75cafe6b-2f2a-469b-85c4-eec3b9c972ba" providerId="ADAL" clId="{F17CDA02-90FA-4D24-97F8-535DD3CEBAF4}" dt="2019-06-25T15:32:29.641" v="10085"/>
        <pc:sldMkLst>
          <pc:docMk/>
          <pc:sldMk cId="668195763" sldId="288"/>
        </pc:sldMkLst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6ED1513-94C8-48C0-85EA-20E76D091462}" type="doc">
      <dgm:prSet loTypeId="urn:microsoft.com/office/officeart/2005/8/layout/chevron1" loCatId="process" qsTypeId="urn:microsoft.com/office/officeart/2005/8/quickstyle/simple1" qsCatId="simple" csTypeId="urn:microsoft.com/office/officeart/2005/8/colors/colorful5" csCatId="colorful" phldr="1"/>
      <dgm:spPr/>
    </dgm:pt>
    <dgm:pt modelId="{CBD85365-4FC4-4939-8C7E-1535D4E99351}">
      <dgm:prSet phldrT="[Text]"/>
      <dgm:spPr/>
      <dgm:t>
        <a:bodyPr/>
        <a:lstStyle/>
        <a:p>
          <a:r>
            <a:rPr lang="de-DE" dirty="0"/>
            <a:t>Planung</a:t>
          </a:r>
        </a:p>
      </dgm:t>
    </dgm:pt>
    <dgm:pt modelId="{4EEB1358-A434-4CCB-BC93-74C83E679FF8}" type="parTrans" cxnId="{3D13514D-E04D-4ECD-86B0-D2B88E400E24}">
      <dgm:prSet/>
      <dgm:spPr/>
      <dgm:t>
        <a:bodyPr/>
        <a:lstStyle/>
        <a:p>
          <a:endParaRPr lang="en-US"/>
        </a:p>
      </dgm:t>
    </dgm:pt>
    <dgm:pt modelId="{5A49567A-534B-4AB5-8775-047FEEAB284E}" type="sibTrans" cxnId="{3D13514D-E04D-4ECD-86B0-D2B88E400E24}">
      <dgm:prSet/>
      <dgm:spPr/>
      <dgm:t>
        <a:bodyPr/>
        <a:lstStyle/>
        <a:p>
          <a:endParaRPr lang="en-US"/>
        </a:p>
      </dgm:t>
    </dgm:pt>
    <dgm:pt modelId="{A02DBEE6-66B0-4024-962E-CA14804403D7}">
      <dgm:prSet phldrT="[Text]"/>
      <dgm:spPr/>
      <dgm:t>
        <a:bodyPr/>
        <a:lstStyle/>
        <a:p>
          <a:r>
            <a:rPr lang="de-DE" dirty="0"/>
            <a:t>Bereitstellung</a:t>
          </a:r>
        </a:p>
      </dgm:t>
    </dgm:pt>
    <dgm:pt modelId="{D13BE2FF-7A34-478E-843C-85921548B912}" type="parTrans" cxnId="{F5191D33-31D8-42F9-81F2-0734FE552678}">
      <dgm:prSet/>
      <dgm:spPr/>
      <dgm:t>
        <a:bodyPr/>
        <a:lstStyle/>
        <a:p>
          <a:endParaRPr lang="en-US"/>
        </a:p>
      </dgm:t>
    </dgm:pt>
    <dgm:pt modelId="{3ABD9317-5255-4286-BABA-C407C59B5552}" type="sibTrans" cxnId="{F5191D33-31D8-42F9-81F2-0734FE552678}">
      <dgm:prSet/>
      <dgm:spPr/>
      <dgm:t>
        <a:bodyPr/>
        <a:lstStyle/>
        <a:p>
          <a:endParaRPr lang="en-US"/>
        </a:p>
      </dgm:t>
    </dgm:pt>
    <dgm:pt modelId="{3D1774FC-C830-4C6E-9B7D-3C8AE7BBD23F}">
      <dgm:prSet phldrT="[Text]"/>
      <dgm:spPr/>
      <dgm:t>
        <a:bodyPr/>
        <a:lstStyle/>
        <a:p>
          <a:r>
            <a:rPr lang="de-DE" dirty="0"/>
            <a:t>Migration</a:t>
          </a:r>
        </a:p>
      </dgm:t>
    </dgm:pt>
    <dgm:pt modelId="{A5110228-B3FD-463E-8A7F-872CE91A03EB}" type="parTrans" cxnId="{004D6042-B6D0-48E7-BC91-CF9734580904}">
      <dgm:prSet/>
      <dgm:spPr/>
      <dgm:t>
        <a:bodyPr/>
        <a:lstStyle/>
        <a:p>
          <a:endParaRPr lang="en-US"/>
        </a:p>
      </dgm:t>
    </dgm:pt>
    <dgm:pt modelId="{DD528AE3-1A81-4089-8891-523A7375FD23}" type="sibTrans" cxnId="{004D6042-B6D0-48E7-BC91-CF9734580904}">
      <dgm:prSet/>
      <dgm:spPr/>
      <dgm:t>
        <a:bodyPr/>
        <a:lstStyle/>
        <a:p>
          <a:endParaRPr lang="en-US"/>
        </a:p>
      </dgm:t>
    </dgm:pt>
    <dgm:pt modelId="{D1B7710F-CCE5-40FA-B15F-77D2513660C6}">
      <dgm:prSet phldrT="[Text]"/>
      <dgm:spPr/>
      <dgm:t>
        <a:bodyPr/>
        <a:lstStyle/>
        <a:p>
          <a:r>
            <a:rPr lang="de-DE" dirty="0"/>
            <a:t>Betrieb</a:t>
          </a:r>
        </a:p>
      </dgm:t>
    </dgm:pt>
    <dgm:pt modelId="{46C558CE-802F-4401-AEC6-69E7527D851A}" type="parTrans" cxnId="{EFB60CD6-478D-44B3-B9CD-28629BBDAF74}">
      <dgm:prSet/>
      <dgm:spPr/>
      <dgm:t>
        <a:bodyPr/>
        <a:lstStyle/>
        <a:p>
          <a:endParaRPr lang="en-US"/>
        </a:p>
      </dgm:t>
    </dgm:pt>
    <dgm:pt modelId="{959A4A77-0AF0-4B05-B319-127BE880D5DE}" type="sibTrans" cxnId="{EFB60CD6-478D-44B3-B9CD-28629BBDAF74}">
      <dgm:prSet/>
      <dgm:spPr/>
      <dgm:t>
        <a:bodyPr/>
        <a:lstStyle/>
        <a:p>
          <a:endParaRPr lang="en-US"/>
        </a:p>
      </dgm:t>
    </dgm:pt>
    <dgm:pt modelId="{1186A182-A548-4E47-9E68-7DD525AA9EEC}" type="pres">
      <dgm:prSet presAssocID="{76ED1513-94C8-48C0-85EA-20E76D091462}" presName="Name0" presStyleCnt="0">
        <dgm:presLayoutVars>
          <dgm:dir/>
          <dgm:animLvl val="lvl"/>
          <dgm:resizeHandles val="exact"/>
        </dgm:presLayoutVars>
      </dgm:prSet>
      <dgm:spPr/>
    </dgm:pt>
    <dgm:pt modelId="{477A9327-576C-4D76-B2FE-7124365F12FF}" type="pres">
      <dgm:prSet presAssocID="{CBD85365-4FC4-4939-8C7E-1535D4E99351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3E829C60-70BE-4A0F-9C36-7AD870454C17}" type="pres">
      <dgm:prSet presAssocID="{5A49567A-534B-4AB5-8775-047FEEAB284E}" presName="parTxOnlySpace" presStyleCnt="0"/>
      <dgm:spPr/>
    </dgm:pt>
    <dgm:pt modelId="{46157D78-0424-4857-8E7D-D237EF69FBD9}" type="pres">
      <dgm:prSet presAssocID="{A02DBEE6-66B0-4024-962E-CA14804403D7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A414BBA1-A418-48DB-8F5A-14322469FCC3}" type="pres">
      <dgm:prSet presAssocID="{3ABD9317-5255-4286-BABA-C407C59B5552}" presName="parTxOnlySpace" presStyleCnt="0"/>
      <dgm:spPr/>
    </dgm:pt>
    <dgm:pt modelId="{9D292403-444E-4DA4-A8CD-4F209907D5B1}" type="pres">
      <dgm:prSet presAssocID="{3D1774FC-C830-4C6E-9B7D-3C8AE7BBD23F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10BBEA72-5E27-4CED-B9CC-EF1FC1578DD6}" type="pres">
      <dgm:prSet presAssocID="{DD528AE3-1A81-4089-8891-523A7375FD23}" presName="parTxOnlySpace" presStyleCnt="0"/>
      <dgm:spPr/>
    </dgm:pt>
    <dgm:pt modelId="{A1358FD1-6DDB-4EC2-8F60-5E36DEE41BDA}" type="pres">
      <dgm:prSet presAssocID="{D1B7710F-CCE5-40FA-B15F-77D2513660C6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F5191D33-31D8-42F9-81F2-0734FE552678}" srcId="{76ED1513-94C8-48C0-85EA-20E76D091462}" destId="{A02DBEE6-66B0-4024-962E-CA14804403D7}" srcOrd="1" destOrd="0" parTransId="{D13BE2FF-7A34-478E-843C-85921548B912}" sibTransId="{3ABD9317-5255-4286-BABA-C407C59B5552}"/>
    <dgm:cxn modelId="{6F89A23C-29A1-4AD5-855C-3775CFE5D8BA}" type="presOf" srcId="{CBD85365-4FC4-4939-8C7E-1535D4E99351}" destId="{477A9327-576C-4D76-B2FE-7124365F12FF}" srcOrd="0" destOrd="0" presId="urn:microsoft.com/office/officeart/2005/8/layout/chevron1"/>
    <dgm:cxn modelId="{004D6042-B6D0-48E7-BC91-CF9734580904}" srcId="{76ED1513-94C8-48C0-85EA-20E76D091462}" destId="{3D1774FC-C830-4C6E-9B7D-3C8AE7BBD23F}" srcOrd="2" destOrd="0" parTransId="{A5110228-B3FD-463E-8A7F-872CE91A03EB}" sibTransId="{DD528AE3-1A81-4089-8891-523A7375FD23}"/>
    <dgm:cxn modelId="{DA4E1145-33B7-4083-BE7B-A815E6998956}" type="presOf" srcId="{D1B7710F-CCE5-40FA-B15F-77D2513660C6}" destId="{A1358FD1-6DDB-4EC2-8F60-5E36DEE41BDA}" srcOrd="0" destOrd="0" presId="urn:microsoft.com/office/officeart/2005/8/layout/chevron1"/>
    <dgm:cxn modelId="{3D13514D-E04D-4ECD-86B0-D2B88E400E24}" srcId="{76ED1513-94C8-48C0-85EA-20E76D091462}" destId="{CBD85365-4FC4-4939-8C7E-1535D4E99351}" srcOrd="0" destOrd="0" parTransId="{4EEB1358-A434-4CCB-BC93-74C83E679FF8}" sibTransId="{5A49567A-534B-4AB5-8775-047FEEAB284E}"/>
    <dgm:cxn modelId="{39C4614E-A6F5-432B-B823-7F81BB440A49}" type="presOf" srcId="{A02DBEE6-66B0-4024-962E-CA14804403D7}" destId="{46157D78-0424-4857-8E7D-D237EF69FBD9}" srcOrd="0" destOrd="0" presId="urn:microsoft.com/office/officeart/2005/8/layout/chevron1"/>
    <dgm:cxn modelId="{B23E51AC-76CC-4CFA-831E-E5ED3FD8B925}" type="presOf" srcId="{3D1774FC-C830-4C6E-9B7D-3C8AE7BBD23F}" destId="{9D292403-444E-4DA4-A8CD-4F209907D5B1}" srcOrd="0" destOrd="0" presId="urn:microsoft.com/office/officeart/2005/8/layout/chevron1"/>
    <dgm:cxn modelId="{D6E454C7-05FF-4C32-B6D6-B979E267D136}" type="presOf" srcId="{76ED1513-94C8-48C0-85EA-20E76D091462}" destId="{1186A182-A548-4E47-9E68-7DD525AA9EEC}" srcOrd="0" destOrd="0" presId="urn:microsoft.com/office/officeart/2005/8/layout/chevron1"/>
    <dgm:cxn modelId="{EFB60CD6-478D-44B3-B9CD-28629BBDAF74}" srcId="{76ED1513-94C8-48C0-85EA-20E76D091462}" destId="{D1B7710F-CCE5-40FA-B15F-77D2513660C6}" srcOrd="3" destOrd="0" parTransId="{46C558CE-802F-4401-AEC6-69E7527D851A}" sibTransId="{959A4A77-0AF0-4B05-B319-127BE880D5DE}"/>
    <dgm:cxn modelId="{00981AAE-1926-440E-BC8F-FEAF1E77936C}" type="presParOf" srcId="{1186A182-A548-4E47-9E68-7DD525AA9EEC}" destId="{477A9327-576C-4D76-B2FE-7124365F12FF}" srcOrd="0" destOrd="0" presId="urn:microsoft.com/office/officeart/2005/8/layout/chevron1"/>
    <dgm:cxn modelId="{9949F000-ACF2-4E8F-80EA-96E3219EA46D}" type="presParOf" srcId="{1186A182-A548-4E47-9E68-7DD525AA9EEC}" destId="{3E829C60-70BE-4A0F-9C36-7AD870454C17}" srcOrd="1" destOrd="0" presId="urn:microsoft.com/office/officeart/2005/8/layout/chevron1"/>
    <dgm:cxn modelId="{DE104277-810F-4819-A743-C61E167D94A8}" type="presParOf" srcId="{1186A182-A548-4E47-9E68-7DD525AA9EEC}" destId="{46157D78-0424-4857-8E7D-D237EF69FBD9}" srcOrd="2" destOrd="0" presId="urn:microsoft.com/office/officeart/2005/8/layout/chevron1"/>
    <dgm:cxn modelId="{DB4C76F8-E875-4AEB-B38D-AC4CB8AC358D}" type="presParOf" srcId="{1186A182-A548-4E47-9E68-7DD525AA9EEC}" destId="{A414BBA1-A418-48DB-8F5A-14322469FCC3}" srcOrd="3" destOrd="0" presId="urn:microsoft.com/office/officeart/2005/8/layout/chevron1"/>
    <dgm:cxn modelId="{E096A94F-5258-4BFD-8544-10F986EA0A3F}" type="presParOf" srcId="{1186A182-A548-4E47-9E68-7DD525AA9EEC}" destId="{9D292403-444E-4DA4-A8CD-4F209907D5B1}" srcOrd="4" destOrd="0" presId="urn:microsoft.com/office/officeart/2005/8/layout/chevron1"/>
    <dgm:cxn modelId="{2C7F7E55-CF48-41AF-BB0F-5273C801D5B2}" type="presParOf" srcId="{1186A182-A548-4E47-9E68-7DD525AA9EEC}" destId="{10BBEA72-5E27-4CED-B9CC-EF1FC1578DD6}" srcOrd="5" destOrd="0" presId="urn:microsoft.com/office/officeart/2005/8/layout/chevron1"/>
    <dgm:cxn modelId="{0BB938F8-0153-4A8B-A23F-B467E52F1558}" type="presParOf" srcId="{1186A182-A548-4E47-9E68-7DD525AA9EEC}" destId="{A1358FD1-6DDB-4EC2-8F60-5E36DEE41BDA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77A9327-576C-4D76-B2FE-7124365F12FF}">
      <dsp:nvSpPr>
        <dsp:cNvPr id="0" name=""/>
        <dsp:cNvSpPr/>
      </dsp:nvSpPr>
      <dsp:spPr>
        <a:xfrm>
          <a:off x="3770" y="270673"/>
          <a:ext cx="2194718" cy="877887"/>
        </a:xfrm>
        <a:prstGeom prst="chevron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009" tIns="22670" rIns="22670" bIns="226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700" kern="1200" dirty="0"/>
            <a:t>Planung</a:t>
          </a:r>
        </a:p>
      </dsp:txBody>
      <dsp:txXfrm>
        <a:off x="442714" y="270673"/>
        <a:ext cx="1316831" cy="877887"/>
      </dsp:txXfrm>
    </dsp:sp>
    <dsp:sp modelId="{46157D78-0424-4857-8E7D-D237EF69FBD9}">
      <dsp:nvSpPr>
        <dsp:cNvPr id="0" name=""/>
        <dsp:cNvSpPr/>
      </dsp:nvSpPr>
      <dsp:spPr>
        <a:xfrm>
          <a:off x="1979017" y="270673"/>
          <a:ext cx="2194718" cy="877887"/>
        </a:xfrm>
        <a:prstGeom prst="chevron">
          <a:avLst/>
        </a:prstGeom>
        <a:solidFill>
          <a:schemeClr val="accent5">
            <a:hueOff val="-2451115"/>
            <a:satOff val="-3409"/>
            <a:lumOff val="-1307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009" tIns="22670" rIns="22670" bIns="226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700" kern="1200" dirty="0"/>
            <a:t>Bereitstellung</a:t>
          </a:r>
        </a:p>
      </dsp:txBody>
      <dsp:txXfrm>
        <a:off x="2417961" y="270673"/>
        <a:ext cx="1316831" cy="877887"/>
      </dsp:txXfrm>
    </dsp:sp>
    <dsp:sp modelId="{9D292403-444E-4DA4-A8CD-4F209907D5B1}">
      <dsp:nvSpPr>
        <dsp:cNvPr id="0" name=""/>
        <dsp:cNvSpPr/>
      </dsp:nvSpPr>
      <dsp:spPr>
        <a:xfrm>
          <a:off x="3954264" y="270673"/>
          <a:ext cx="2194718" cy="877887"/>
        </a:xfrm>
        <a:prstGeom prst="chevron">
          <a:avLst/>
        </a:prstGeom>
        <a:solidFill>
          <a:schemeClr val="accent5">
            <a:hueOff val="-4902230"/>
            <a:satOff val="-6819"/>
            <a:lumOff val="-261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009" tIns="22670" rIns="22670" bIns="226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700" kern="1200" dirty="0"/>
            <a:t>Migration</a:t>
          </a:r>
        </a:p>
      </dsp:txBody>
      <dsp:txXfrm>
        <a:off x="4393208" y="270673"/>
        <a:ext cx="1316831" cy="877887"/>
      </dsp:txXfrm>
    </dsp:sp>
    <dsp:sp modelId="{A1358FD1-6DDB-4EC2-8F60-5E36DEE41BDA}">
      <dsp:nvSpPr>
        <dsp:cNvPr id="0" name=""/>
        <dsp:cNvSpPr/>
      </dsp:nvSpPr>
      <dsp:spPr>
        <a:xfrm>
          <a:off x="5929510" y="270673"/>
          <a:ext cx="2194718" cy="877887"/>
        </a:xfrm>
        <a:prstGeom prst="chevron">
          <a:avLst/>
        </a:prstGeom>
        <a:solidFill>
          <a:schemeClr val="accent5">
            <a:hueOff val="-7353344"/>
            <a:satOff val="-10228"/>
            <a:lumOff val="-3922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009" tIns="22670" rIns="22670" bIns="226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700" kern="1200" dirty="0"/>
            <a:t>Betrieb</a:t>
          </a:r>
        </a:p>
      </dsp:txBody>
      <dsp:txXfrm>
        <a:off x="6368454" y="270673"/>
        <a:ext cx="1316831" cy="87788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54D23-C501-4057-9474-1817B12DC5B6}" type="datetimeFigureOut">
              <a:rPr lang="de-DE" smtClean="0"/>
              <a:t>27.07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C6658D-3E81-4CBF-8D7E-C0BB24DDBDA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003107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54D23-C501-4057-9474-1817B12DC5B6}" type="datetimeFigureOut">
              <a:rPr lang="de-DE" smtClean="0"/>
              <a:t>27.07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C6658D-3E81-4CBF-8D7E-C0BB24DDBDA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247935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54D23-C501-4057-9474-1817B12DC5B6}" type="datetimeFigureOut">
              <a:rPr lang="de-DE" smtClean="0"/>
              <a:t>27.07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C6658D-3E81-4CBF-8D7E-C0BB24DDBDA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323939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54D23-C501-4057-9474-1817B12DC5B6}" type="datetimeFigureOut">
              <a:rPr lang="de-DE" smtClean="0"/>
              <a:t>27.07.2019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C6658D-3E81-4CBF-8D7E-C0BB24DDBDA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400480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54D23-C501-4057-9474-1817B12DC5B6}" type="datetimeFigureOut">
              <a:rPr lang="de-DE" smtClean="0"/>
              <a:t>27.07.2019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C6658D-3E81-4CBF-8D7E-C0BB24DDBDA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656709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54D23-C501-4057-9474-1817B12DC5B6}" type="datetimeFigureOut">
              <a:rPr lang="de-DE" smtClean="0"/>
              <a:t>27.07.2019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C6658D-3E81-4CBF-8D7E-C0BB24DDBDA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06153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54D23-C501-4057-9474-1817B12DC5B6}" type="datetimeFigureOut">
              <a:rPr lang="de-DE" smtClean="0"/>
              <a:t>27.07.2019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C6658D-3E81-4CBF-8D7E-C0BB24DDBDA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5031270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54D23-C501-4057-9474-1817B12DC5B6}" type="datetimeFigureOut">
              <a:rPr lang="de-DE" smtClean="0"/>
              <a:t>27.07.2019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C6658D-3E81-4CBF-8D7E-C0BB24DDBDA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2461868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54D23-C501-4057-9474-1817B12DC5B6}" type="datetimeFigureOut">
              <a:rPr lang="de-DE" smtClean="0"/>
              <a:t>27.07.2019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C6658D-3E81-4CBF-8D7E-C0BB24DDBDA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806767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EE54D23-C501-4057-9474-1817B12DC5B6}" type="datetimeFigureOut">
              <a:rPr lang="de-DE" smtClean="0"/>
              <a:t>27.07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1C6658D-3E81-4CBF-8D7E-C0BB24DDBDA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555288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rgbClr val="00B0F0"/>
          </a:solidFill>
          <a:latin typeface="Segoe UI Light" panose="020B0502040204020203" pitchFamily="34" charset="0"/>
          <a:ea typeface="+mj-ea"/>
          <a:cs typeface="Segoe UI Light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2.png"/><Relationship Id="rId7" Type="http://schemas.openxmlformats.org/officeDocument/2006/relationships/image" Target="../media/image7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2.png"/><Relationship Id="rId7" Type="http://schemas.openxmlformats.org/officeDocument/2006/relationships/image" Target="../media/image7.png"/><Relationship Id="rId12" Type="http://schemas.openxmlformats.org/officeDocument/2006/relationships/image" Target="../media/image19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png"/><Relationship Id="rId11" Type="http://schemas.openxmlformats.org/officeDocument/2006/relationships/image" Target="../media/image18.png"/><Relationship Id="rId5" Type="http://schemas.openxmlformats.org/officeDocument/2006/relationships/image" Target="../media/image4.png"/><Relationship Id="rId10" Type="http://schemas.openxmlformats.org/officeDocument/2006/relationships/image" Target="../media/image17.png"/><Relationship Id="rId4" Type="http://schemas.openxmlformats.org/officeDocument/2006/relationships/image" Target="../media/image3.png"/><Relationship Id="rId9" Type="http://schemas.openxmlformats.org/officeDocument/2006/relationships/image" Target="../media/image1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7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hyperlink" Target="http://www.enowsoftware.com/solutions-engine/the-office-365-domino-effect" TargetMode="External"/><Relationship Id="rId3" Type="http://schemas.openxmlformats.org/officeDocument/2006/relationships/image" Target="../media/image2.png"/><Relationship Id="rId7" Type="http://schemas.openxmlformats.org/officeDocument/2006/relationships/image" Target="../media/image7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png"/><Relationship Id="rId11" Type="http://schemas.openxmlformats.org/officeDocument/2006/relationships/hyperlink" Target="https://www.enowsoftware.com/solutions-engine/sharepoint-outage-may-2019" TargetMode="External"/><Relationship Id="rId5" Type="http://schemas.openxmlformats.org/officeDocument/2006/relationships/image" Target="../media/image4.png"/><Relationship Id="rId10" Type="http://schemas.openxmlformats.org/officeDocument/2006/relationships/hyperlink" Target="https://office365itpros.com/2019/02/21/teams-outage-18-february-2019/" TargetMode="External"/><Relationship Id="rId4" Type="http://schemas.openxmlformats.org/officeDocument/2006/relationships/image" Target="../media/image3.png"/><Relationship Id="rId9" Type="http://schemas.openxmlformats.org/officeDocument/2006/relationships/hyperlink" Target="http://www.enowsoftware.com/solutions-engine/azure-ad-outage" TargetMode="Externa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2.png"/><Relationship Id="rId7" Type="http://schemas.openxmlformats.org/officeDocument/2006/relationships/image" Target="../media/image7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7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emf"/><Relationship Id="rId13" Type="http://schemas.openxmlformats.org/officeDocument/2006/relationships/image" Target="../media/image26.emf"/><Relationship Id="rId3" Type="http://schemas.openxmlformats.org/officeDocument/2006/relationships/image" Target="../media/image2.png"/><Relationship Id="rId7" Type="http://schemas.openxmlformats.org/officeDocument/2006/relationships/image" Target="../media/image7.png"/><Relationship Id="rId12" Type="http://schemas.openxmlformats.org/officeDocument/2006/relationships/image" Target="../media/image25.emf"/><Relationship Id="rId17" Type="http://schemas.openxmlformats.org/officeDocument/2006/relationships/image" Target="../media/image30.emf"/><Relationship Id="rId2" Type="http://schemas.openxmlformats.org/officeDocument/2006/relationships/image" Target="../media/image1.png"/><Relationship Id="rId16" Type="http://schemas.openxmlformats.org/officeDocument/2006/relationships/image" Target="../media/image29.emf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png"/><Relationship Id="rId11" Type="http://schemas.openxmlformats.org/officeDocument/2006/relationships/image" Target="../media/image24.emf"/><Relationship Id="rId5" Type="http://schemas.openxmlformats.org/officeDocument/2006/relationships/image" Target="../media/image4.png"/><Relationship Id="rId15" Type="http://schemas.openxmlformats.org/officeDocument/2006/relationships/image" Target="../media/image28.emf"/><Relationship Id="rId10" Type="http://schemas.openxmlformats.org/officeDocument/2006/relationships/image" Target="../media/image23.emf"/><Relationship Id="rId4" Type="http://schemas.openxmlformats.org/officeDocument/2006/relationships/image" Target="../media/image3.png"/><Relationship Id="rId9" Type="http://schemas.openxmlformats.org/officeDocument/2006/relationships/image" Target="../media/image22.emf"/><Relationship Id="rId14" Type="http://schemas.openxmlformats.org/officeDocument/2006/relationships/image" Target="../media/image27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7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image" Target="../media/image2.png"/><Relationship Id="rId7" Type="http://schemas.openxmlformats.org/officeDocument/2006/relationships/image" Target="../media/image7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13" Type="http://schemas.openxmlformats.org/officeDocument/2006/relationships/image" Target="../media/image37.png"/><Relationship Id="rId3" Type="http://schemas.openxmlformats.org/officeDocument/2006/relationships/image" Target="../media/image2.png"/><Relationship Id="rId7" Type="http://schemas.openxmlformats.org/officeDocument/2006/relationships/image" Target="../media/image7.png"/><Relationship Id="rId12" Type="http://schemas.openxmlformats.org/officeDocument/2006/relationships/image" Target="../media/image36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png"/><Relationship Id="rId11" Type="http://schemas.openxmlformats.org/officeDocument/2006/relationships/image" Target="../media/image35.png"/><Relationship Id="rId5" Type="http://schemas.openxmlformats.org/officeDocument/2006/relationships/image" Target="../media/image4.png"/><Relationship Id="rId10" Type="http://schemas.openxmlformats.org/officeDocument/2006/relationships/image" Target="../media/image34.jpeg"/><Relationship Id="rId4" Type="http://schemas.openxmlformats.org/officeDocument/2006/relationships/image" Target="../media/image3.png"/><Relationship Id="rId9" Type="http://schemas.openxmlformats.org/officeDocument/2006/relationships/image" Target="../media/image33.svg"/><Relationship Id="rId14" Type="http://schemas.openxmlformats.org/officeDocument/2006/relationships/image" Target="../media/image38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NULL" TargetMode="External"/><Relationship Id="rId13" Type="http://schemas.openxmlformats.org/officeDocument/2006/relationships/image" Target="../media/image9.png"/><Relationship Id="rId3" Type="http://schemas.openxmlformats.org/officeDocument/2006/relationships/image" Target="../media/image2.png"/><Relationship Id="rId7" Type="http://schemas.openxmlformats.org/officeDocument/2006/relationships/image" Target="../media/image7.png"/><Relationship Id="rId12" Type="http://schemas.openxmlformats.org/officeDocument/2006/relationships/image" Target="../media/image8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png"/><Relationship Id="rId11" Type="http://schemas.openxmlformats.org/officeDocument/2006/relationships/hyperlink" Target="http://JustCantGetEnough.Granikos.eu" TargetMode="External"/><Relationship Id="rId5" Type="http://schemas.openxmlformats.org/officeDocument/2006/relationships/image" Target="../media/image4.png"/><Relationship Id="rId10" Type="http://schemas.openxmlformats.org/officeDocument/2006/relationships/hyperlink" Target="http://Bblog.granikos.eu" TargetMode="External"/><Relationship Id="rId4" Type="http://schemas.openxmlformats.org/officeDocument/2006/relationships/image" Target="../media/image3.png"/><Relationship Id="rId9" Type="http://schemas.openxmlformats.org/officeDocument/2006/relationships/hyperlink" Target="NULL" TargetMode="Externa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13" Type="http://schemas.openxmlformats.org/officeDocument/2006/relationships/image" Target="../media/image44.jpg"/><Relationship Id="rId18" Type="http://schemas.openxmlformats.org/officeDocument/2006/relationships/image" Target="../media/image49.jpeg"/><Relationship Id="rId3" Type="http://schemas.openxmlformats.org/officeDocument/2006/relationships/image" Target="../media/image2.png"/><Relationship Id="rId7" Type="http://schemas.openxmlformats.org/officeDocument/2006/relationships/image" Target="../media/image7.png"/><Relationship Id="rId12" Type="http://schemas.openxmlformats.org/officeDocument/2006/relationships/image" Target="../media/image43.png"/><Relationship Id="rId17" Type="http://schemas.openxmlformats.org/officeDocument/2006/relationships/image" Target="../media/image48.png"/><Relationship Id="rId2" Type="http://schemas.openxmlformats.org/officeDocument/2006/relationships/image" Target="../media/image1.png"/><Relationship Id="rId16" Type="http://schemas.openxmlformats.org/officeDocument/2006/relationships/image" Target="../media/image47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png"/><Relationship Id="rId11" Type="http://schemas.openxmlformats.org/officeDocument/2006/relationships/image" Target="../media/image42.png"/><Relationship Id="rId5" Type="http://schemas.openxmlformats.org/officeDocument/2006/relationships/image" Target="../media/image4.png"/><Relationship Id="rId15" Type="http://schemas.openxmlformats.org/officeDocument/2006/relationships/image" Target="../media/image46.png"/><Relationship Id="rId10" Type="http://schemas.openxmlformats.org/officeDocument/2006/relationships/image" Target="../media/image41.jpg"/><Relationship Id="rId19" Type="http://schemas.openxmlformats.org/officeDocument/2006/relationships/image" Target="../media/image50.png"/><Relationship Id="rId4" Type="http://schemas.openxmlformats.org/officeDocument/2006/relationships/image" Target="../media/image3.png"/><Relationship Id="rId9" Type="http://schemas.openxmlformats.org/officeDocument/2006/relationships/image" Target="../media/image40.jpg"/><Relationship Id="rId14" Type="http://schemas.openxmlformats.org/officeDocument/2006/relationships/image" Target="../media/image45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.xml"/><Relationship Id="rId3" Type="http://schemas.openxmlformats.org/officeDocument/2006/relationships/image" Target="../media/image2.png"/><Relationship Id="rId7" Type="http://schemas.openxmlformats.org/officeDocument/2006/relationships/image" Target="../media/image7.png"/><Relationship Id="rId12" Type="http://schemas.microsoft.com/office/2007/relationships/diagramDrawing" Target="../diagrams/drawing1.xm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png"/><Relationship Id="rId11" Type="http://schemas.openxmlformats.org/officeDocument/2006/relationships/diagramColors" Target="../diagrams/colors1.xml"/><Relationship Id="rId5" Type="http://schemas.openxmlformats.org/officeDocument/2006/relationships/image" Target="../media/image4.png"/><Relationship Id="rId10" Type="http://schemas.openxmlformats.org/officeDocument/2006/relationships/diagramQuickStyle" Target="../diagrams/quickStyle1.xml"/><Relationship Id="rId4" Type="http://schemas.openxmlformats.org/officeDocument/2006/relationships/image" Target="../media/image3.png"/><Relationship Id="rId9" Type="http://schemas.openxmlformats.org/officeDocument/2006/relationships/diagramLayout" Target="../diagrams/layout1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3" Type="http://schemas.openxmlformats.org/officeDocument/2006/relationships/image" Target="../media/image2.png"/><Relationship Id="rId7" Type="http://schemas.openxmlformats.org/officeDocument/2006/relationships/image" Target="../media/image7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3" Type="http://schemas.openxmlformats.org/officeDocument/2006/relationships/image" Target="../media/image2.png"/><Relationship Id="rId7" Type="http://schemas.openxmlformats.org/officeDocument/2006/relationships/image" Target="../media/image7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13" Type="http://schemas.openxmlformats.org/officeDocument/2006/relationships/image" Target="../media/image33.svg"/><Relationship Id="rId3" Type="http://schemas.openxmlformats.org/officeDocument/2006/relationships/image" Target="../media/image2.png"/><Relationship Id="rId7" Type="http://schemas.openxmlformats.org/officeDocument/2006/relationships/image" Target="../media/image7.png"/><Relationship Id="rId12" Type="http://schemas.openxmlformats.org/officeDocument/2006/relationships/image" Target="../media/image56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png"/><Relationship Id="rId11" Type="http://schemas.openxmlformats.org/officeDocument/2006/relationships/image" Target="../media/image55.png"/><Relationship Id="rId5" Type="http://schemas.openxmlformats.org/officeDocument/2006/relationships/image" Target="../media/image4.png"/><Relationship Id="rId10" Type="http://schemas.openxmlformats.org/officeDocument/2006/relationships/image" Target="../media/image54.jpg"/><Relationship Id="rId4" Type="http://schemas.openxmlformats.org/officeDocument/2006/relationships/image" Target="../media/image3.png"/><Relationship Id="rId9" Type="http://schemas.openxmlformats.org/officeDocument/2006/relationships/image" Target="../media/image53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7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png"/><Relationship Id="rId3" Type="http://schemas.openxmlformats.org/officeDocument/2006/relationships/image" Target="../media/image2.png"/><Relationship Id="rId7" Type="http://schemas.openxmlformats.org/officeDocument/2006/relationships/image" Target="../media/image7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hyperlink" Target="https://go.granikos.eu/Mailscape365Trial" TargetMode="External"/><Relationship Id="rId3" Type="http://schemas.openxmlformats.org/officeDocument/2006/relationships/image" Target="../media/image2.png"/><Relationship Id="rId7" Type="http://schemas.openxmlformats.org/officeDocument/2006/relationships/image" Target="../media/image7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Relationship Id="rId9" Type="http://schemas.openxmlformats.org/officeDocument/2006/relationships/image" Target="../media/image58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hyperlink" Target="http://blog.granikos.eu/" TargetMode="External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7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7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2.png"/><Relationship Id="rId7" Type="http://schemas.openxmlformats.org/officeDocument/2006/relationships/image" Target="../media/image7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Relationship Id="rId9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emf"/><Relationship Id="rId3" Type="http://schemas.openxmlformats.org/officeDocument/2006/relationships/image" Target="../media/image2.png"/><Relationship Id="rId7" Type="http://schemas.openxmlformats.org/officeDocument/2006/relationships/image" Target="../media/image7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7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7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2.png"/><Relationship Id="rId7" Type="http://schemas.openxmlformats.org/officeDocument/2006/relationships/image" Target="../media/image7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7451" y="5996416"/>
            <a:ext cx="1756524" cy="1171015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9505" y="6223347"/>
            <a:ext cx="1400751" cy="700376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048" y="6453661"/>
            <a:ext cx="1097238" cy="27431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0" y="1865690"/>
            <a:ext cx="12192000" cy="2387600"/>
          </a:xfrm>
        </p:spPr>
        <p:txBody>
          <a:bodyPr/>
          <a:lstStyle/>
          <a:p>
            <a:r>
              <a:rPr lang="de-DE" dirty="0"/>
              <a:t>Überwachung der Office 365 Anwendererfahrung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404966" y="5205722"/>
            <a:ext cx="9144000" cy="820850"/>
          </a:xfrm>
        </p:spPr>
        <p:txBody>
          <a:bodyPr/>
          <a:lstStyle/>
          <a:p>
            <a:r>
              <a:rPr lang="de-DE" dirty="0"/>
              <a:t>Thomas Stensitzki</a:t>
            </a:r>
            <a:br>
              <a:rPr lang="de-DE" dirty="0"/>
            </a:br>
            <a:r>
              <a:rPr lang="de-DE" dirty="0"/>
              <a:t>Granikos GmbH</a:t>
            </a:r>
          </a:p>
        </p:txBody>
      </p:sp>
      <p:pic>
        <p:nvPicPr>
          <p:cNvPr id="13" name="Grafik 12" descr="Ein Bild, das Objekt enthält.&#10;&#10;Mit hoher Zuverlässigkeit generierte Beschreibung">
            <a:extLst>
              <a:ext uri="{FF2B5EF4-FFF2-40B4-BE49-F238E27FC236}">
                <a16:creationId xmlns:a16="http://schemas.microsoft.com/office/drawing/2014/main" id="{E5AA72CE-8D17-4FBE-B09F-3FB0C215A16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9094" y="6318652"/>
            <a:ext cx="1049094" cy="431555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36FF77F4-36EF-4017-AB71-867871747EB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7675" y="6343150"/>
            <a:ext cx="2116822" cy="527882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7C08ABE5-F255-4657-9558-C1FEBA17B443}"/>
              </a:ext>
            </a:extLst>
          </p:cNvPr>
          <p:cNvSpPr txBox="1"/>
          <p:nvPr/>
        </p:nvSpPr>
        <p:spPr>
          <a:xfrm>
            <a:off x="3422477" y="4253290"/>
            <a:ext cx="510897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3200" dirty="0">
                <a:latin typeface="Segoe UI Light" panose="020B0502040204020203" pitchFamily="34" charset="0"/>
                <a:cs typeface="Segoe UI Light" panose="020B0502040204020203" pitchFamily="34" charset="0"/>
              </a:rPr>
              <a:t>Ist das notwendig?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F1C127B0-A0BC-4579-884D-190303F93D0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3543" y="572221"/>
            <a:ext cx="5274645" cy="18504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687568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7451" y="5996416"/>
            <a:ext cx="1756524" cy="1171015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9505" y="6223347"/>
            <a:ext cx="1400751" cy="700376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994" y="6444768"/>
            <a:ext cx="1097238" cy="274310"/>
          </a:xfrm>
          <a:prstGeom prst="rect">
            <a:avLst/>
          </a:prstGeom>
        </p:spPr>
      </p:pic>
      <p:pic>
        <p:nvPicPr>
          <p:cNvPr id="13" name="Grafik 12" descr="Ein Bild, das Objekt enthält.&#10;&#10;Mit hoher Zuverlässigkeit generierte Beschreibung">
            <a:extLst>
              <a:ext uri="{FF2B5EF4-FFF2-40B4-BE49-F238E27FC236}">
                <a16:creationId xmlns:a16="http://schemas.microsoft.com/office/drawing/2014/main" id="{E5AA72CE-8D17-4FBE-B09F-3FB0C215A16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9094" y="6318652"/>
            <a:ext cx="1049094" cy="431555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36FF77F4-36EF-4017-AB71-867871747EB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7675" y="6343150"/>
            <a:ext cx="2116822" cy="527882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6D0B10B2-C374-4192-88DA-CFF82B9A956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048" y="315357"/>
            <a:ext cx="2223164" cy="779950"/>
          </a:xfrm>
          <a:prstGeom prst="rect">
            <a:avLst/>
          </a:prstGeom>
        </p:spPr>
      </p:pic>
      <p:sp>
        <p:nvSpPr>
          <p:cNvPr id="14" name="Titel 1">
            <a:extLst>
              <a:ext uri="{FF2B5EF4-FFF2-40B4-BE49-F238E27FC236}">
                <a16:creationId xmlns:a16="http://schemas.microsoft.com/office/drawing/2014/main" id="{F2CD2A51-0F8F-4617-BD22-C4A2B0C6256C}"/>
              </a:ext>
            </a:extLst>
          </p:cNvPr>
          <p:cNvSpPr txBox="1">
            <a:spLocks/>
          </p:cNvSpPr>
          <p:nvPr/>
        </p:nvSpPr>
        <p:spPr>
          <a:xfrm>
            <a:off x="2698506" y="315357"/>
            <a:ext cx="9144000" cy="68892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rgbClr val="00B0F0"/>
                </a:solidFill>
                <a:latin typeface="Segoe UI Light" panose="020B0502040204020203" pitchFamily="34" charset="0"/>
                <a:ea typeface="+mj-ea"/>
                <a:cs typeface="Segoe UI Light" panose="020B0502040204020203" pitchFamily="34" charset="0"/>
              </a:defRPr>
            </a:lvl1pPr>
          </a:lstStyle>
          <a:p>
            <a:pPr algn="l"/>
            <a:r>
              <a:rPr lang="de-DE" sz="3600" dirty="0"/>
              <a:t>AAD Connect Health</a:t>
            </a: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2F160A99-7989-4A57-8DB5-9B807AD8FBFA}"/>
              </a:ext>
            </a:extLst>
          </p:cNvPr>
          <p:cNvGrpSpPr/>
          <p:nvPr/>
        </p:nvGrpSpPr>
        <p:grpSpPr>
          <a:xfrm>
            <a:off x="225048" y="3098024"/>
            <a:ext cx="5520731" cy="954107"/>
            <a:chOff x="225048" y="3071563"/>
            <a:chExt cx="5520731" cy="954107"/>
          </a:xfrm>
        </p:grpSpPr>
        <p:sp>
          <p:nvSpPr>
            <p:cNvPr id="17" name="Oval 13">
              <a:extLst>
                <a:ext uri="{FF2B5EF4-FFF2-40B4-BE49-F238E27FC236}">
                  <a16:creationId xmlns:a16="http://schemas.microsoft.com/office/drawing/2014/main" id="{A4D7492F-88E8-4E3E-84CC-9222C6F44A0E}"/>
                </a:ext>
              </a:extLst>
            </p:cNvPr>
            <p:cNvSpPr/>
            <p:nvPr/>
          </p:nvSpPr>
          <p:spPr>
            <a:xfrm>
              <a:off x="225048" y="3175516"/>
              <a:ext cx="731520" cy="731520"/>
            </a:xfrm>
            <a:prstGeom prst="ellipse">
              <a:avLst/>
            </a:prstGeom>
            <a:solidFill>
              <a:srgbClr val="53C2E5"/>
            </a:solidFill>
            <a:ln w="12700" cap="flat">
              <a:noFill/>
              <a:miter lim="400000"/>
            </a:ln>
            <a:effectLst>
              <a:outerShdw blurRad="38100" dist="25400" dir="5400000" rotWithShape="0">
                <a:srgbClr val="000000">
                  <a:alpha val="50000"/>
                </a:srgb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5400" tIns="25400" rIns="25400" bIns="25400" numCol="1" spcCol="38100" rtlCol="0" anchor="ctr">
              <a:spAutoFit/>
            </a:bodyPr>
            <a:lstStyle/>
            <a:p>
              <a:pPr algn="ctr" defTabSz="412750" hangingPunct="0"/>
              <a:endParaRPr lang="en-US" sz="1600" dirty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endParaRPr>
            </a:p>
          </p:txBody>
        </p:sp>
        <p:sp>
          <p:nvSpPr>
            <p:cNvPr id="19" name="Shape">
              <a:extLst>
                <a:ext uri="{FF2B5EF4-FFF2-40B4-BE49-F238E27FC236}">
                  <a16:creationId xmlns:a16="http://schemas.microsoft.com/office/drawing/2014/main" id="{79F400B7-00A6-454B-B2E9-1C3902333CE8}"/>
                </a:ext>
              </a:extLst>
            </p:cNvPr>
            <p:cNvSpPr/>
            <p:nvPr/>
          </p:nvSpPr>
          <p:spPr>
            <a:xfrm>
              <a:off x="363926" y="3344149"/>
              <a:ext cx="493358" cy="39883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0" y="18345"/>
                  </a:lnTo>
                  <a:lnTo>
                    <a:pt x="8827" y="18345"/>
                  </a:lnTo>
                  <a:lnTo>
                    <a:pt x="8827" y="16688"/>
                  </a:lnTo>
                  <a:lnTo>
                    <a:pt x="1340" y="16688"/>
                  </a:lnTo>
                  <a:lnTo>
                    <a:pt x="1340" y="1687"/>
                  </a:lnTo>
                  <a:lnTo>
                    <a:pt x="20260" y="1687"/>
                  </a:lnTo>
                  <a:lnTo>
                    <a:pt x="20260" y="16688"/>
                  </a:lnTo>
                  <a:lnTo>
                    <a:pt x="12821" y="16688"/>
                  </a:lnTo>
                  <a:lnTo>
                    <a:pt x="12821" y="18345"/>
                  </a:lnTo>
                  <a:lnTo>
                    <a:pt x="21600" y="18345"/>
                  </a:lnTo>
                  <a:lnTo>
                    <a:pt x="21600" y="0"/>
                  </a:lnTo>
                  <a:lnTo>
                    <a:pt x="0" y="0"/>
                  </a:lnTo>
                  <a:close/>
                  <a:moveTo>
                    <a:pt x="2631" y="3403"/>
                  </a:moveTo>
                  <a:lnTo>
                    <a:pt x="2631" y="15120"/>
                  </a:lnTo>
                  <a:lnTo>
                    <a:pt x="18849" y="15120"/>
                  </a:lnTo>
                  <a:lnTo>
                    <a:pt x="18849" y="3403"/>
                  </a:lnTo>
                  <a:lnTo>
                    <a:pt x="2631" y="3403"/>
                  </a:lnTo>
                  <a:close/>
                  <a:moveTo>
                    <a:pt x="3995" y="5060"/>
                  </a:moveTo>
                  <a:lnTo>
                    <a:pt x="17510" y="5060"/>
                  </a:lnTo>
                  <a:lnTo>
                    <a:pt x="17510" y="13433"/>
                  </a:lnTo>
                  <a:lnTo>
                    <a:pt x="3995" y="13433"/>
                  </a:lnTo>
                  <a:lnTo>
                    <a:pt x="3995" y="5060"/>
                  </a:lnTo>
                  <a:close/>
                  <a:moveTo>
                    <a:pt x="10070" y="16688"/>
                  </a:moveTo>
                  <a:lnTo>
                    <a:pt x="10070" y="18345"/>
                  </a:lnTo>
                  <a:lnTo>
                    <a:pt x="10740" y="18345"/>
                  </a:lnTo>
                  <a:lnTo>
                    <a:pt x="11410" y="18345"/>
                  </a:lnTo>
                  <a:lnTo>
                    <a:pt x="11410" y="16688"/>
                  </a:lnTo>
                  <a:lnTo>
                    <a:pt x="10070" y="16688"/>
                  </a:lnTo>
                  <a:close/>
                  <a:moveTo>
                    <a:pt x="6746" y="19943"/>
                  </a:moveTo>
                  <a:lnTo>
                    <a:pt x="6746" y="21600"/>
                  </a:lnTo>
                  <a:lnTo>
                    <a:pt x="10884" y="21600"/>
                  </a:lnTo>
                  <a:lnTo>
                    <a:pt x="14998" y="21600"/>
                  </a:lnTo>
                  <a:lnTo>
                    <a:pt x="14998" y="19943"/>
                  </a:lnTo>
                  <a:lnTo>
                    <a:pt x="6746" y="19943"/>
                  </a:lnTo>
                  <a:close/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22860" rIns="22860" anchor="ctr"/>
            <a:lstStyle/>
            <a:p>
              <a:pPr defTabSz="228600">
                <a:lnSpc>
                  <a:spcPct val="93000"/>
                </a:lnSpc>
                <a:defRPr sz="1800">
                  <a:latin typeface="Open Sans"/>
                  <a:ea typeface="Open Sans"/>
                  <a:cs typeface="Open Sans"/>
                  <a:sym typeface="Open Sans"/>
                </a:defRPr>
              </a:pPr>
              <a:endParaRPr sz="900" dirty="0"/>
            </a:p>
          </p:txBody>
        </p:sp>
        <p:sp>
          <p:nvSpPr>
            <p:cNvPr id="21" name="TextBox 17">
              <a:extLst>
                <a:ext uri="{FF2B5EF4-FFF2-40B4-BE49-F238E27FC236}">
                  <a16:creationId xmlns:a16="http://schemas.microsoft.com/office/drawing/2014/main" id="{927DF210-7557-4D21-B24E-82B56D8BA5E7}"/>
                </a:ext>
              </a:extLst>
            </p:cNvPr>
            <p:cNvSpPr txBox="1"/>
            <p:nvPr/>
          </p:nvSpPr>
          <p:spPr>
            <a:xfrm>
              <a:off x="1378232" y="3071563"/>
              <a:ext cx="4367547" cy="954107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r>
                <a:rPr lang="de-DE" sz="2800" b="1" dirty="0">
                  <a:solidFill>
                    <a:srgbClr val="53C2E5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Globale Administrator Berechtigung erforderlich</a:t>
              </a:r>
              <a:endParaRPr lang="de-DE" sz="2800" dirty="0">
                <a:solidFill>
                  <a:srgbClr val="53C2E5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6DE27620-F891-4A68-AFE1-3D271A6F5F43}"/>
              </a:ext>
            </a:extLst>
          </p:cNvPr>
          <p:cNvGrpSpPr/>
          <p:nvPr/>
        </p:nvGrpSpPr>
        <p:grpSpPr>
          <a:xfrm>
            <a:off x="239644" y="4600485"/>
            <a:ext cx="5615546" cy="954107"/>
            <a:chOff x="225048" y="4310368"/>
            <a:chExt cx="5615546" cy="954107"/>
          </a:xfrm>
        </p:grpSpPr>
        <p:sp>
          <p:nvSpPr>
            <p:cNvPr id="16" name="Oval 12">
              <a:extLst>
                <a:ext uri="{FF2B5EF4-FFF2-40B4-BE49-F238E27FC236}">
                  <a16:creationId xmlns:a16="http://schemas.microsoft.com/office/drawing/2014/main" id="{2C82246E-AC26-4251-A476-A2371A115D93}"/>
                </a:ext>
              </a:extLst>
            </p:cNvPr>
            <p:cNvSpPr/>
            <p:nvPr/>
          </p:nvSpPr>
          <p:spPr>
            <a:xfrm>
              <a:off x="225048" y="4418600"/>
              <a:ext cx="731520" cy="731520"/>
            </a:xfrm>
            <a:prstGeom prst="ellipse">
              <a:avLst/>
            </a:prstGeom>
            <a:solidFill>
              <a:srgbClr val="72C8B5"/>
            </a:solidFill>
            <a:ln w="12700" cap="flat">
              <a:solidFill>
                <a:srgbClr val="53C2C4"/>
              </a:solidFill>
              <a:miter lim="400000"/>
            </a:ln>
            <a:effectLst>
              <a:outerShdw blurRad="38100" dist="25400" dir="5400000" rotWithShape="0">
                <a:srgbClr val="000000">
                  <a:alpha val="50000"/>
                </a:srgb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5400" tIns="25400" rIns="25400" bIns="25400" numCol="1" spcCol="38100" rtlCol="0" anchor="ctr">
              <a:spAutoFit/>
            </a:bodyPr>
            <a:lstStyle/>
            <a:p>
              <a:pPr algn="ctr" defTabSz="412750" hangingPunct="0"/>
              <a:endParaRPr lang="en-US" sz="1600" dirty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endParaRPr>
            </a:p>
          </p:txBody>
        </p:sp>
        <p:sp>
          <p:nvSpPr>
            <p:cNvPr id="22" name="TextBox 18">
              <a:extLst>
                <a:ext uri="{FF2B5EF4-FFF2-40B4-BE49-F238E27FC236}">
                  <a16:creationId xmlns:a16="http://schemas.microsoft.com/office/drawing/2014/main" id="{605907F2-4D74-4FD9-AF62-4C55A573C63A}"/>
                </a:ext>
              </a:extLst>
            </p:cNvPr>
            <p:cNvSpPr txBox="1"/>
            <p:nvPr/>
          </p:nvSpPr>
          <p:spPr>
            <a:xfrm>
              <a:off x="1376314" y="4310368"/>
              <a:ext cx="4464280" cy="954107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r>
                <a:rPr lang="de-DE" sz="2800" b="1" dirty="0">
                  <a:solidFill>
                    <a:srgbClr val="72C8B5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Überwachung von AD FS und Azure AD Connect</a:t>
              </a:r>
              <a:endParaRPr lang="de-DE" sz="28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3" name="Shape">
              <a:extLst>
                <a:ext uri="{FF2B5EF4-FFF2-40B4-BE49-F238E27FC236}">
                  <a16:creationId xmlns:a16="http://schemas.microsoft.com/office/drawing/2014/main" id="{849D2028-6EF0-4E96-B769-238D0753A1FE}"/>
                </a:ext>
              </a:extLst>
            </p:cNvPr>
            <p:cNvSpPr/>
            <p:nvPr/>
          </p:nvSpPr>
          <p:spPr>
            <a:xfrm>
              <a:off x="465188" y="4603372"/>
              <a:ext cx="274320" cy="3657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80" h="21600" extrusionOk="0">
                  <a:moveTo>
                    <a:pt x="9856" y="0"/>
                  </a:moveTo>
                  <a:cubicBezTo>
                    <a:pt x="7173" y="0"/>
                    <a:pt x="4736" y="811"/>
                    <a:pt x="2879" y="2251"/>
                  </a:cubicBezTo>
                  <a:cubicBezTo>
                    <a:pt x="-960" y="5162"/>
                    <a:pt x="-960" y="9933"/>
                    <a:pt x="2879" y="12907"/>
                  </a:cubicBezTo>
                  <a:lnTo>
                    <a:pt x="4110" y="11973"/>
                  </a:lnTo>
                  <a:cubicBezTo>
                    <a:pt x="1014" y="9532"/>
                    <a:pt x="1014" y="5627"/>
                    <a:pt x="4110" y="3185"/>
                  </a:cubicBezTo>
                  <a:cubicBezTo>
                    <a:pt x="5637" y="2027"/>
                    <a:pt x="7709" y="1365"/>
                    <a:pt x="9856" y="1365"/>
                  </a:cubicBezTo>
                  <a:cubicBezTo>
                    <a:pt x="12002" y="1365"/>
                    <a:pt x="14011" y="2027"/>
                    <a:pt x="15538" y="3185"/>
                  </a:cubicBezTo>
                  <a:cubicBezTo>
                    <a:pt x="18675" y="5627"/>
                    <a:pt x="18675" y="9532"/>
                    <a:pt x="15538" y="11973"/>
                  </a:cubicBezTo>
                  <a:lnTo>
                    <a:pt x="16801" y="12907"/>
                  </a:lnTo>
                  <a:cubicBezTo>
                    <a:pt x="20640" y="9996"/>
                    <a:pt x="20640" y="5225"/>
                    <a:pt x="16801" y="2251"/>
                  </a:cubicBezTo>
                  <a:cubicBezTo>
                    <a:pt x="14943" y="811"/>
                    <a:pt x="12415" y="0"/>
                    <a:pt x="9856" y="0"/>
                  </a:cubicBezTo>
                  <a:close/>
                  <a:moveTo>
                    <a:pt x="9856" y="3424"/>
                  </a:moveTo>
                  <a:cubicBezTo>
                    <a:pt x="6927" y="3424"/>
                    <a:pt x="4489" y="5219"/>
                    <a:pt x="4489" y="7471"/>
                  </a:cubicBezTo>
                  <a:cubicBezTo>
                    <a:pt x="4489" y="9693"/>
                    <a:pt x="6886" y="11542"/>
                    <a:pt x="9856" y="11542"/>
                  </a:cubicBezTo>
                  <a:cubicBezTo>
                    <a:pt x="12784" y="11542"/>
                    <a:pt x="15159" y="9693"/>
                    <a:pt x="15159" y="7471"/>
                  </a:cubicBezTo>
                  <a:cubicBezTo>
                    <a:pt x="15160" y="5219"/>
                    <a:pt x="12826" y="3424"/>
                    <a:pt x="9856" y="3424"/>
                  </a:cubicBezTo>
                  <a:close/>
                  <a:moveTo>
                    <a:pt x="9856" y="4789"/>
                  </a:moveTo>
                  <a:cubicBezTo>
                    <a:pt x="11794" y="4789"/>
                    <a:pt x="13392" y="5970"/>
                    <a:pt x="13392" y="7471"/>
                  </a:cubicBezTo>
                  <a:cubicBezTo>
                    <a:pt x="13392" y="8942"/>
                    <a:pt x="11836" y="10201"/>
                    <a:pt x="9856" y="10201"/>
                  </a:cubicBezTo>
                  <a:cubicBezTo>
                    <a:pt x="7917" y="10201"/>
                    <a:pt x="6257" y="8942"/>
                    <a:pt x="6257" y="7471"/>
                  </a:cubicBezTo>
                  <a:cubicBezTo>
                    <a:pt x="6257" y="5970"/>
                    <a:pt x="7876" y="4789"/>
                    <a:pt x="9856" y="4789"/>
                  </a:cubicBezTo>
                  <a:close/>
                  <a:moveTo>
                    <a:pt x="6099" y="14608"/>
                  </a:moveTo>
                  <a:lnTo>
                    <a:pt x="4678" y="15278"/>
                  </a:lnTo>
                  <a:lnTo>
                    <a:pt x="9856" y="21600"/>
                  </a:lnTo>
                  <a:lnTo>
                    <a:pt x="15002" y="15278"/>
                  </a:lnTo>
                  <a:lnTo>
                    <a:pt x="13581" y="14608"/>
                  </a:lnTo>
                  <a:lnTo>
                    <a:pt x="9856" y="19062"/>
                  </a:lnTo>
                  <a:lnTo>
                    <a:pt x="6099" y="14608"/>
                  </a:lnTo>
                  <a:close/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45719" rIns="45719" anchor="ctr"/>
            <a:lstStyle>
              <a:defPPr marL="0" marR="0" indent="0" algn="l" defTabSz="9144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</a:defRPr>
              </a:defPPr>
              <a:lvl1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1pPr>
              <a:lvl2pPr marL="0" marR="0" indent="2286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2pPr>
              <a:lvl3pPr marL="0" marR="0" indent="4572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3pPr>
              <a:lvl4pPr marL="0" marR="0" indent="6858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4pPr>
              <a:lvl5pPr marL="0" marR="0" indent="9144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5pPr>
              <a:lvl6pPr marL="0" marR="0" indent="11430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6pPr>
              <a:lvl7pPr marL="0" marR="0" indent="13716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7pPr>
              <a:lvl8pPr marL="0" marR="0" indent="16002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8pPr>
              <a:lvl9pPr marL="0" marR="0" indent="18288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9pPr>
            </a:lstStyle>
            <a:p>
              <a:pPr algn="l" defTabSz="457200">
                <a:lnSpc>
                  <a:spcPct val="93000"/>
                </a:lnSpc>
                <a:defRPr sz="1800">
                  <a:latin typeface="Open Sans"/>
                  <a:ea typeface="Open Sans"/>
                  <a:cs typeface="Open Sans"/>
                  <a:sym typeface="Open Sans"/>
                </a:defRPr>
              </a:pPr>
              <a:endParaRPr dirty="0"/>
            </a:p>
          </p:txBody>
        </p:sp>
      </p:grp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7327FD88-4043-425C-9015-59D025C20E03}"/>
              </a:ext>
            </a:extLst>
          </p:cNvPr>
          <p:cNvGrpSpPr/>
          <p:nvPr/>
        </p:nvGrpSpPr>
        <p:grpSpPr>
          <a:xfrm>
            <a:off x="225048" y="1803469"/>
            <a:ext cx="5797797" cy="731520"/>
            <a:chOff x="225048" y="1941602"/>
            <a:chExt cx="5797797" cy="731520"/>
          </a:xfrm>
        </p:grpSpPr>
        <p:sp>
          <p:nvSpPr>
            <p:cNvPr id="18" name="Oval 14">
              <a:extLst>
                <a:ext uri="{FF2B5EF4-FFF2-40B4-BE49-F238E27FC236}">
                  <a16:creationId xmlns:a16="http://schemas.microsoft.com/office/drawing/2014/main" id="{24802968-4129-42A4-A9C3-F974E1B04D20}"/>
                </a:ext>
              </a:extLst>
            </p:cNvPr>
            <p:cNvSpPr/>
            <p:nvPr/>
          </p:nvSpPr>
          <p:spPr>
            <a:xfrm>
              <a:off x="225048" y="1941602"/>
              <a:ext cx="777926" cy="731520"/>
            </a:xfrm>
            <a:prstGeom prst="ellipse">
              <a:avLst/>
            </a:prstGeom>
            <a:solidFill>
              <a:srgbClr val="533F6F"/>
            </a:solidFill>
            <a:ln w="12700" cap="flat">
              <a:noFill/>
              <a:miter lim="400000"/>
            </a:ln>
            <a:effectLst>
              <a:outerShdw blurRad="38100" dist="25400" dir="5400000" rotWithShape="0">
                <a:srgbClr val="000000">
                  <a:alpha val="50000"/>
                </a:srgb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5400" tIns="25400" rIns="25400" bIns="25400" numCol="1" spcCol="38100" rtlCol="0" anchor="ctr">
              <a:spAutoFit/>
            </a:bodyPr>
            <a:lstStyle/>
            <a:p>
              <a:pPr algn="ctr" defTabSz="412750" hangingPunct="0"/>
              <a:endParaRPr lang="en-US" sz="1600" dirty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endParaRPr>
            </a:p>
          </p:txBody>
        </p:sp>
        <p:sp>
          <p:nvSpPr>
            <p:cNvPr id="20" name="TextBox 16">
              <a:extLst>
                <a:ext uri="{FF2B5EF4-FFF2-40B4-BE49-F238E27FC236}">
                  <a16:creationId xmlns:a16="http://schemas.microsoft.com/office/drawing/2014/main" id="{645112B8-4769-47E7-B7C7-B78FFF461626}"/>
                </a:ext>
              </a:extLst>
            </p:cNvPr>
            <p:cNvSpPr txBox="1"/>
            <p:nvPr/>
          </p:nvSpPr>
          <p:spPr>
            <a:xfrm>
              <a:off x="1378232" y="2048756"/>
              <a:ext cx="4644613" cy="523220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r>
                <a:rPr lang="de-DE" sz="2800" b="1" dirty="0">
                  <a:solidFill>
                    <a:srgbClr val="533F6F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Erfordert Azure AD Premium</a:t>
              </a:r>
            </a:p>
          </p:txBody>
        </p:sp>
        <p:sp>
          <p:nvSpPr>
            <p:cNvPr id="24" name="Shape">
              <a:extLst>
                <a:ext uri="{FF2B5EF4-FFF2-40B4-BE49-F238E27FC236}">
                  <a16:creationId xmlns:a16="http://schemas.microsoft.com/office/drawing/2014/main" id="{83A33767-7C79-47B5-8798-5A75236F4CC9}"/>
                </a:ext>
              </a:extLst>
            </p:cNvPr>
            <p:cNvSpPr/>
            <p:nvPr/>
          </p:nvSpPr>
          <p:spPr>
            <a:xfrm>
              <a:off x="398477" y="2134727"/>
              <a:ext cx="373667" cy="3513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665" y="21600"/>
                  </a:moveTo>
                  <a:lnTo>
                    <a:pt x="8812" y="16319"/>
                  </a:lnTo>
                  <a:lnTo>
                    <a:pt x="8812" y="18037"/>
                  </a:lnTo>
                  <a:lnTo>
                    <a:pt x="9034" y="17814"/>
                  </a:lnTo>
                  <a:lnTo>
                    <a:pt x="9989" y="18864"/>
                  </a:lnTo>
                  <a:lnTo>
                    <a:pt x="7444" y="21346"/>
                  </a:lnTo>
                  <a:lnTo>
                    <a:pt x="7444" y="13202"/>
                  </a:lnTo>
                  <a:lnTo>
                    <a:pt x="13965" y="19119"/>
                  </a:lnTo>
                  <a:lnTo>
                    <a:pt x="19405" y="2195"/>
                  </a:lnTo>
                  <a:lnTo>
                    <a:pt x="2481" y="8271"/>
                  </a:lnTo>
                  <a:lnTo>
                    <a:pt x="6140" y="11770"/>
                  </a:lnTo>
                  <a:lnTo>
                    <a:pt x="13138" y="6458"/>
                  </a:lnTo>
                  <a:lnTo>
                    <a:pt x="13965" y="7571"/>
                  </a:lnTo>
                  <a:lnTo>
                    <a:pt x="6076" y="13615"/>
                  </a:lnTo>
                  <a:lnTo>
                    <a:pt x="0" y="7698"/>
                  </a:lnTo>
                  <a:lnTo>
                    <a:pt x="21600" y="0"/>
                  </a:lnTo>
                  <a:lnTo>
                    <a:pt x="14665" y="21600"/>
                  </a:lnTo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45719" rIns="45719" anchor="ctr"/>
            <a:lstStyle>
              <a:defPPr marL="0" marR="0" indent="0" algn="l" defTabSz="9144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</a:defRPr>
              </a:defPPr>
              <a:lvl1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1pPr>
              <a:lvl2pPr marL="0" marR="0" indent="2286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2pPr>
              <a:lvl3pPr marL="0" marR="0" indent="4572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3pPr>
              <a:lvl4pPr marL="0" marR="0" indent="6858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4pPr>
              <a:lvl5pPr marL="0" marR="0" indent="9144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5pPr>
              <a:lvl6pPr marL="0" marR="0" indent="11430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6pPr>
              <a:lvl7pPr marL="0" marR="0" indent="13716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7pPr>
              <a:lvl8pPr marL="0" marR="0" indent="16002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8pPr>
              <a:lvl9pPr marL="0" marR="0" indent="18288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9pPr>
            </a:lstStyle>
            <a:p>
              <a:pPr algn="l" defTabSz="457200">
                <a:lnSpc>
                  <a:spcPct val="93000"/>
                </a:lnSpc>
                <a:defRPr sz="1800">
                  <a:latin typeface="Open Sans"/>
                  <a:ea typeface="Open Sans"/>
                  <a:cs typeface="Open Sans"/>
                  <a:sym typeface="Open Sans"/>
                </a:defRPr>
              </a:pPr>
              <a:endParaRPr/>
            </a:p>
          </p:txBody>
        </p:sp>
      </p:grpSp>
      <p:pic>
        <p:nvPicPr>
          <p:cNvPr id="2" name="Grafik 1">
            <a:extLst>
              <a:ext uri="{FF2B5EF4-FFF2-40B4-BE49-F238E27FC236}">
                <a16:creationId xmlns:a16="http://schemas.microsoft.com/office/drawing/2014/main" id="{25E45A96-4729-4855-AAC3-32E641A2F32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59651" y="1675774"/>
            <a:ext cx="5144218" cy="413442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36377249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7451" y="5996416"/>
            <a:ext cx="1756524" cy="1171015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9505" y="6223347"/>
            <a:ext cx="1400751" cy="700376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994" y="6444768"/>
            <a:ext cx="1097238" cy="274310"/>
          </a:xfrm>
          <a:prstGeom prst="rect">
            <a:avLst/>
          </a:prstGeom>
        </p:spPr>
      </p:pic>
      <p:pic>
        <p:nvPicPr>
          <p:cNvPr id="13" name="Grafik 12" descr="Ein Bild, das Objekt enthält.&#10;&#10;Mit hoher Zuverlässigkeit generierte Beschreibung">
            <a:extLst>
              <a:ext uri="{FF2B5EF4-FFF2-40B4-BE49-F238E27FC236}">
                <a16:creationId xmlns:a16="http://schemas.microsoft.com/office/drawing/2014/main" id="{E5AA72CE-8D17-4FBE-B09F-3FB0C215A16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9094" y="6318652"/>
            <a:ext cx="1049094" cy="431555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36FF77F4-36EF-4017-AB71-867871747EB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7675" y="6343150"/>
            <a:ext cx="2116822" cy="527882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6D0B10B2-C374-4192-88DA-CFF82B9A956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048" y="315357"/>
            <a:ext cx="2223164" cy="779950"/>
          </a:xfrm>
          <a:prstGeom prst="rect">
            <a:avLst/>
          </a:prstGeom>
        </p:spPr>
      </p:pic>
      <p:sp>
        <p:nvSpPr>
          <p:cNvPr id="14" name="Titel 1">
            <a:extLst>
              <a:ext uri="{FF2B5EF4-FFF2-40B4-BE49-F238E27FC236}">
                <a16:creationId xmlns:a16="http://schemas.microsoft.com/office/drawing/2014/main" id="{F2CD2A51-0F8F-4617-BD22-C4A2B0C6256C}"/>
              </a:ext>
            </a:extLst>
          </p:cNvPr>
          <p:cNvSpPr txBox="1">
            <a:spLocks/>
          </p:cNvSpPr>
          <p:nvPr/>
        </p:nvSpPr>
        <p:spPr>
          <a:xfrm>
            <a:off x="2698506" y="315357"/>
            <a:ext cx="9144000" cy="68892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rgbClr val="00B0F0"/>
                </a:solidFill>
                <a:latin typeface="Segoe UI Light" panose="020B0502040204020203" pitchFamily="34" charset="0"/>
                <a:ea typeface="+mj-ea"/>
                <a:cs typeface="Segoe UI Light" panose="020B0502040204020203" pitchFamily="34" charset="0"/>
              </a:defRPr>
            </a:lvl1pPr>
          </a:lstStyle>
          <a:p>
            <a:pPr algn="l"/>
            <a:r>
              <a:rPr lang="de-DE" sz="3600" dirty="0"/>
              <a:t>Twitter</a:t>
            </a:r>
            <a:r>
              <a:rPr lang="de-DE" sz="3600" i="1" dirty="0"/>
              <a:t> </a:t>
            </a:r>
            <a:endParaRPr lang="de-DE" sz="3600" dirty="0"/>
          </a:p>
        </p:txBody>
      </p:sp>
      <p:pic>
        <p:nvPicPr>
          <p:cNvPr id="25" name="Picture 3">
            <a:extLst>
              <a:ext uri="{FF2B5EF4-FFF2-40B4-BE49-F238E27FC236}">
                <a16:creationId xmlns:a16="http://schemas.microsoft.com/office/drawing/2014/main" id="{8F06ECB4-087E-4A92-B517-18D1E238B82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31786" y="1427537"/>
            <a:ext cx="5572125" cy="20097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6" name="Picture 5">
            <a:extLst>
              <a:ext uri="{FF2B5EF4-FFF2-40B4-BE49-F238E27FC236}">
                <a16:creationId xmlns:a16="http://schemas.microsoft.com/office/drawing/2014/main" id="{7BD57EE2-05C6-416C-B8C1-974B74F2AD1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31786" y="3769542"/>
            <a:ext cx="5096483" cy="212068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7" name="Picture 1">
            <a:extLst>
              <a:ext uri="{FF2B5EF4-FFF2-40B4-BE49-F238E27FC236}">
                <a16:creationId xmlns:a16="http://schemas.microsoft.com/office/drawing/2014/main" id="{41303BB4-9E86-4FFF-9CE1-E93ED97BE774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b="57685"/>
          <a:stretch/>
        </p:blipFill>
        <p:spPr>
          <a:xfrm>
            <a:off x="6180890" y="1438260"/>
            <a:ext cx="5400124" cy="169364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8" name="Picture 6">
            <a:extLst>
              <a:ext uri="{FF2B5EF4-FFF2-40B4-BE49-F238E27FC236}">
                <a16:creationId xmlns:a16="http://schemas.microsoft.com/office/drawing/2014/main" id="{81632187-CF19-4D90-AB01-CDAAC9472B38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b="25261"/>
          <a:stretch/>
        </p:blipFill>
        <p:spPr>
          <a:xfrm>
            <a:off x="6145214" y="3525988"/>
            <a:ext cx="5400125" cy="93345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9" name="Picture 7">
            <a:extLst>
              <a:ext uri="{FF2B5EF4-FFF2-40B4-BE49-F238E27FC236}">
                <a16:creationId xmlns:a16="http://schemas.microsoft.com/office/drawing/2014/main" id="{440B3584-95AB-408A-A36E-0031142A04B5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145214" y="4839346"/>
            <a:ext cx="5715000" cy="9334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35820140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1000"/>
                            </p:stCondLst>
                            <p:childTnLst>
                              <p:par>
                                <p:cTn id="10" presetID="2" presetClass="entr" presetSubtype="8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000"/>
                            </p:stCondLst>
                            <p:childTnLst>
                              <p:par>
                                <p:cTn id="22" presetID="1" presetClass="entr" presetSubtype="0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7451" y="5996416"/>
            <a:ext cx="1756524" cy="1171015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9505" y="6223347"/>
            <a:ext cx="1400751" cy="700376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994" y="6444768"/>
            <a:ext cx="1097238" cy="27431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29859" y="1218723"/>
            <a:ext cx="9144000" cy="688925"/>
          </a:xfrm>
        </p:spPr>
        <p:txBody>
          <a:bodyPr>
            <a:normAutofit/>
          </a:bodyPr>
          <a:lstStyle/>
          <a:p>
            <a:pPr algn="l"/>
            <a:r>
              <a:rPr lang="de-DE" sz="3600" dirty="0"/>
              <a:t>Probleme, die Sie kennen sollten</a:t>
            </a:r>
          </a:p>
        </p:txBody>
      </p:sp>
      <p:pic>
        <p:nvPicPr>
          <p:cNvPr id="13" name="Grafik 12" descr="Ein Bild, das Objekt enthält.&#10;&#10;Mit hoher Zuverlässigkeit generierte Beschreibung">
            <a:extLst>
              <a:ext uri="{FF2B5EF4-FFF2-40B4-BE49-F238E27FC236}">
                <a16:creationId xmlns:a16="http://schemas.microsoft.com/office/drawing/2014/main" id="{E5AA72CE-8D17-4FBE-B09F-3FB0C215A16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9094" y="6318652"/>
            <a:ext cx="1049094" cy="431555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36FF77F4-36EF-4017-AB71-867871747EB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7675" y="6343150"/>
            <a:ext cx="2116822" cy="527882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A195C9F0-6D6D-40FF-A7A7-FFBE0258047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048" y="315357"/>
            <a:ext cx="2223164" cy="779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450655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7451" y="5996416"/>
            <a:ext cx="1756524" cy="1171015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9505" y="6223347"/>
            <a:ext cx="1400751" cy="700376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994" y="6444768"/>
            <a:ext cx="1097238" cy="274310"/>
          </a:xfrm>
          <a:prstGeom prst="rect">
            <a:avLst/>
          </a:prstGeom>
        </p:spPr>
      </p:pic>
      <p:pic>
        <p:nvPicPr>
          <p:cNvPr id="13" name="Grafik 12" descr="Ein Bild, das Objekt enthält.&#10;&#10;Mit hoher Zuverlässigkeit generierte Beschreibung">
            <a:extLst>
              <a:ext uri="{FF2B5EF4-FFF2-40B4-BE49-F238E27FC236}">
                <a16:creationId xmlns:a16="http://schemas.microsoft.com/office/drawing/2014/main" id="{E5AA72CE-8D17-4FBE-B09F-3FB0C215A16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9094" y="6318652"/>
            <a:ext cx="1049094" cy="431555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36FF77F4-36EF-4017-AB71-867871747EB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7675" y="6343150"/>
            <a:ext cx="2116822" cy="527882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6D0B10B2-C374-4192-88DA-CFF82B9A956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048" y="315357"/>
            <a:ext cx="2223164" cy="779950"/>
          </a:xfrm>
          <a:prstGeom prst="rect">
            <a:avLst/>
          </a:prstGeom>
        </p:spPr>
      </p:pic>
      <p:sp>
        <p:nvSpPr>
          <p:cNvPr id="14" name="Titel 1">
            <a:extLst>
              <a:ext uri="{FF2B5EF4-FFF2-40B4-BE49-F238E27FC236}">
                <a16:creationId xmlns:a16="http://schemas.microsoft.com/office/drawing/2014/main" id="{F2CD2A51-0F8F-4617-BD22-C4A2B0C6256C}"/>
              </a:ext>
            </a:extLst>
          </p:cNvPr>
          <p:cNvSpPr txBox="1">
            <a:spLocks/>
          </p:cNvSpPr>
          <p:nvPr/>
        </p:nvSpPr>
        <p:spPr>
          <a:xfrm>
            <a:off x="2698506" y="315357"/>
            <a:ext cx="9144000" cy="68892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rgbClr val="00B0F0"/>
                </a:solidFill>
                <a:latin typeface="Segoe UI Light" panose="020B0502040204020203" pitchFamily="34" charset="0"/>
                <a:ea typeface="+mj-ea"/>
                <a:cs typeface="Segoe UI Light" panose="020B0502040204020203" pitchFamily="34" charset="0"/>
              </a:defRPr>
            </a:lvl1pPr>
          </a:lstStyle>
          <a:p>
            <a:pPr algn="l"/>
            <a:r>
              <a:rPr lang="de-DE" sz="3600" dirty="0"/>
              <a:t>Dienststörungen in Office 365 – 2018/2019 </a:t>
            </a:r>
          </a:p>
        </p:txBody>
      </p:sp>
      <p:sp>
        <p:nvSpPr>
          <p:cNvPr id="18" name="Rectangle 3">
            <a:extLst>
              <a:ext uri="{FF2B5EF4-FFF2-40B4-BE49-F238E27FC236}">
                <a16:creationId xmlns:a16="http://schemas.microsoft.com/office/drawing/2014/main" id="{CCB0D80B-4EA9-411A-9531-CD41D34DFCCF}"/>
              </a:ext>
            </a:extLst>
          </p:cNvPr>
          <p:cNvSpPr/>
          <p:nvPr/>
        </p:nvSpPr>
        <p:spPr>
          <a:xfrm>
            <a:off x="5444133" y="3616916"/>
            <a:ext cx="24718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>
                <a:latin typeface="Segoe UI Light" panose="020B0502040204020203" pitchFamily="34" charset="0"/>
                <a:cs typeface="Segoe UI Light" panose="020B0502040204020203" pitchFamily="34" charset="0"/>
              </a:rPr>
              <a:t> </a:t>
            </a:r>
            <a:endParaRPr lang="de-DE" dirty="0">
              <a:solidFill>
                <a:prstClr val="black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C0C5983E-B6E1-44B9-B363-400916CD2C8E}"/>
              </a:ext>
            </a:extLst>
          </p:cNvPr>
          <p:cNvGrpSpPr/>
          <p:nvPr/>
        </p:nvGrpSpPr>
        <p:grpSpPr>
          <a:xfrm>
            <a:off x="935623" y="1553218"/>
            <a:ext cx="2632164" cy="1727449"/>
            <a:chOff x="935623" y="1553218"/>
            <a:chExt cx="2632164" cy="1727449"/>
          </a:xfrm>
        </p:grpSpPr>
        <p:sp>
          <p:nvSpPr>
            <p:cNvPr id="35" name="TextBox 45">
              <a:extLst>
                <a:ext uri="{FF2B5EF4-FFF2-40B4-BE49-F238E27FC236}">
                  <a16:creationId xmlns:a16="http://schemas.microsoft.com/office/drawing/2014/main" id="{FF7D9C01-C2E5-415C-A75A-2C42DBC012FE}"/>
                </a:ext>
              </a:extLst>
            </p:cNvPr>
            <p:cNvSpPr txBox="1"/>
            <p:nvPr/>
          </p:nvSpPr>
          <p:spPr>
            <a:xfrm>
              <a:off x="1740233" y="1910792"/>
              <a:ext cx="1827554" cy="72840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5400" tIns="25400" rIns="25400" bIns="25400" numCol="1" spcCol="38100" rtlCol="0" anchor="ctr">
              <a:spAutoFit/>
            </a:bodyPr>
            <a:lstStyle/>
            <a:p>
              <a:pPr algn="l"/>
              <a:r>
                <a:rPr lang="de-DE" sz="1100" b="1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4. September 2018</a:t>
              </a:r>
            </a:p>
            <a:p>
              <a:pPr algn="l"/>
              <a:r>
                <a:rPr lang="de-DE" sz="11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Blitzeinschlag im San Antonio Rechenzentrum.</a:t>
              </a:r>
              <a:br>
                <a:rPr lang="de-DE" sz="1100" dirty="0"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lang="de-DE" sz="1100" dirty="0">
                  <a:latin typeface="Segoe UI Light" panose="020B0502040204020203" pitchFamily="34" charset="0"/>
                  <a:cs typeface="Segoe UI Light" panose="020B0502040204020203" pitchFamily="34" charset="0"/>
                  <a:hlinkClick r:id="rId8"/>
                </a:rPr>
                <a:t>Analyse der Störung</a:t>
              </a:r>
              <a:r>
                <a:rPr lang="de-DE" sz="11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</a:p>
          </p:txBody>
        </p:sp>
        <p:sp>
          <p:nvSpPr>
            <p:cNvPr id="36" name="TextBox 54">
              <a:extLst>
                <a:ext uri="{FF2B5EF4-FFF2-40B4-BE49-F238E27FC236}">
                  <a16:creationId xmlns:a16="http://schemas.microsoft.com/office/drawing/2014/main" id="{FE9CF4AE-96B4-4B92-8829-4A00CB381A77}"/>
                </a:ext>
              </a:extLst>
            </p:cNvPr>
            <p:cNvSpPr txBox="1"/>
            <p:nvPr/>
          </p:nvSpPr>
          <p:spPr>
            <a:xfrm>
              <a:off x="1741808" y="1606744"/>
              <a:ext cx="1825979" cy="29751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5400" tIns="25400" rIns="25400" bIns="25400" numCol="1" spcCol="38100" rtlCol="0" anchor="ctr">
              <a:spAutoFit/>
            </a:bodyPr>
            <a:lstStyle/>
            <a:p>
              <a:pPr algn="l"/>
              <a:r>
                <a:rPr lang="de-DE" sz="1600" b="1" dirty="0">
                  <a:solidFill>
                    <a:prstClr val="black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Azure AD Störung</a:t>
              </a:r>
            </a:p>
          </p:txBody>
        </p:sp>
        <p:grpSp>
          <p:nvGrpSpPr>
            <p:cNvPr id="3" name="Gruppieren 2">
              <a:extLst>
                <a:ext uri="{FF2B5EF4-FFF2-40B4-BE49-F238E27FC236}">
                  <a16:creationId xmlns:a16="http://schemas.microsoft.com/office/drawing/2014/main" id="{3B539682-FE35-4A47-9017-5CB1026EC30A}"/>
                </a:ext>
              </a:extLst>
            </p:cNvPr>
            <p:cNvGrpSpPr/>
            <p:nvPr/>
          </p:nvGrpSpPr>
          <p:grpSpPr>
            <a:xfrm>
              <a:off x="935623" y="1553218"/>
              <a:ext cx="594360" cy="1727449"/>
              <a:chOff x="935623" y="1553218"/>
              <a:chExt cx="594360" cy="1727449"/>
            </a:xfrm>
          </p:grpSpPr>
          <p:cxnSp>
            <p:nvCxnSpPr>
              <p:cNvPr id="17" name="Straight Connector 43">
                <a:extLst>
                  <a:ext uri="{FF2B5EF4-FFF2-40B4-BE49-F238E27FC236}">
                    <a16:creationId xmlns:a16="http://schemas.microsoft.com/office/drawing/2014/main" id="{75C5ADB2-0C12-4E2F-AF97-10BFCE33DBF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225290" y="1985972"/>
                <a:ext cx="0" cy="1294695"/>
              </a:xfrm>
              <a:prstGeom prst="line">
                <a:avLst/>
              </a:prstGeom>
              <a:noFill/>
              <a:ln w="38100" cap="flat">
                <a:solidFill>
                  <a:srgbClr val="000000"/>
                </a:solidFill>
                <a:prstDash val="solid"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sp>
            <p:nvSpPr>
              <p:cNvPr id="37" name="Oval 58">
                <a:extLst>
                  <a:ext uri="{FF2B5EF4-FFF2-40B4-BE49-F238E27FC236}">
                    <a16:creationId xmlns:a16="http://schemas.microsoft.com/office/drawing/2014/main" id="{A776916D-83D9-4C75-B166-78394EC7A2E9}"/>
                  </a:ext>
                </a:extLst>
              </p:cNvPr>
              <p:cNvSpPr/>
              <p:nvPr/>
            </p:nvSpPr>
            <p:spPr>
              <a:xfrm>
                <a:off x="935623" y="1553218"/>
                <a:ext cx="594360" cy="418366"/>
              </a:xfrm>
              <a:prstGeom prst="ellipse">
                <a:avLst/>
              </a:prstGeom>
              <a:solidFill>
                <a:schemeClr val="bg1"/>
              </a:solidFill>
              <a:ln w="76200" cap="flat">
                <a:solidFill>
                  <a:srgbClr val="533F6F"/>
                </a:solidFill>
                <a:miter lim="400000"/>
              </a:ln>
              <a:effectLst>
                <a:outerShdw blurRad="38100" dist="25400" dir="5400000" rotWithShape="0">
                  <a:srgbClr val="000000">
                    <a:alpha val="50000"/>
                  </a:srgbClr>
                </a:outerShdw>
              </a:effectLst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25400" tIns="25400" rIns="25400" bIns="25400" numCol="1" spcCol="38100" rtlCol="0" anchor="ctr">
                <a:spAutoFit/>
              </a:bodyPr>
              <a:lstStyle/>
              <a:p>
                <a:endParaRPr lang="de-DE" sz="1600" dirty="0">
                  <a:solidFill>
                    <a:prstClr val="white">
                      <a:lumMod val="95000"/>
                    </a:prst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38" name="Shape">
                <a:extLst>
                  <a:ext uri="{FF2B5EF4-FFF2-40B4-BE49-F238E27FC236}">
                    <a16:creationId xmlns:a16="http://schemas.microsoft.com/office/drawing/2014/main" id="{E709AAF2-E5F9-4F89-BB7C-89B09857E487}"/>
                  </a:ext>
                </a:extLst>
              </p:cNvPr>
              <p:cNvSpPr/>
              <p:nvPr/>
            </p:nvSpPr>
            <p:spPr>
              <a:xfrm>
                <a:off x="1006020" y="1639629"/>
                <a:ext cx="457200" cy="27432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4176" y="0"/>
                    </a:moveTo>
                    <a:cubicBezTo>
                      <a:pt x="10303" y="91"/>
                      <a:pt x="7097" y="4432"/>
                      <a:pt x="6753" y="9859"/>
                    </a:cubicBezTo>
                    <a:cubicBezTo>
                      <a:pt x="6753" y="10088"/>
                      <a:pt x="6753" y="10363"/>
                      <a:pt x="6753" y="10591"/>
                    </a:cubicBezTo>
                    <a:cubicBezTo>
                      <a:pt x="6753" y="10682"/>
                      <a:pt x="6753" y="10778"/>
                      <a:pt x="6753" y="10870"/>
                    </a:cubicBezTo>
                    <a:lnTo>
                      <a:pt x="8094" y="10870"/>
                    </a:lnTo>
                    <a:cubicBezTo>
                      <a:pt x="8094" y="10687"/>
                      <a:pt x="8094" y="10588"/>
                      <a:pt x="8094" y="10452"/>
                    </a:cubicBezTo>
                    <a:cubicBezTo>
                      <a:pt x="8094" y="10269"/>
                      <a:pt x="8094" y="10181"/>
                      <a:pt x="8094" y="9999"/>
                    </a:cubicBezTo>
                    <a:cubicBezTo>
                      <a:pt x="8375" y="5438"/>
                      <a:pt x="11062" y="1881"/>
                      <a:pt x="14248" y="1881"/>
                    </a:cubicBezTo>
                    <a:cubicBezTo>
                      <a:pt x="17559" y="1881"/>
                      <a:pt x="20235" y="5931"/>
                      <a:pt x="20235" y="10765"/>
                    </a:cubicBezTo>
                    <a:cubicBezTo>
                      <a:pt x="20235" y="15691"/>
                      <a:pt x="17550" y="19614"/>
                      <a:pt x="14176" y="19614"/>
                    </a:cubicBezTo>
                    <a:lnTo>
                      <a:pt x="5388" y="19614"/>
                    </a:lnTo>
                    <a:cubicBezTo>
                      <a:pt x="3139" y="19614"/>
                      <a:pt x="1341" y="17010"/>
                      <a:pt x="1341" y="13726"/>
                    </a:cubicBezTo>
                    <a:cubicBezTo>
                      <a:pt x="1341" y="10488"/>
                      <a:pt x="3139" y="7804"/>
                      <a:pt x="5388" y="7804"/>
                    </a:cubicBezTo>
                    <a:lnTo>
                      <a:pt x="5388" y="5853"/>
                    </a:lnTo>
                    <a:cubicBezTo>
                      <a:pt x="2389" y="5853"/>
                      <a:pt x="0" y="9394"/>
                      <a:pt x="0" y="13726"/>
                    </a:cubicBezTo>
                    <a:cubicBezTo>
                      <a:pt x="0" y="18059"/>
                      <a:pt x="2389" y="21600"/>
                      <a:pt x="5388" y="21600"/>
                    </a:cubicBezTo>
                    <a:lnTo>
                      <a:pt x="14176" y="21600"/>
                    </a:lnTo>
                    <a:cubicBezTo>
                      <a:pt x="18300" y="21600"/>
                      <a:pt x="21600" y="16799"/>
                      <a:pt x="21600" y="10870"/>
                    </a:cubicBezTo>
                    <a:cubicBezTo>
                      <a:pt x="21600" y="4941"/>
                      <a:pt x="18357" y="91"/>
                      <a:pt x="14296" y="0"/>
                    </a:cubicBezTo>
                    <a:lnTo>
                      <a:pt x="14176" y="0"/>
                    </a:lnTo>
                    <a:close/>
                    <a:moveTo>
                      <a:pt x="14176" y="4006"/>
                    </a:moveTo>
                    <a:cubicBezTo>
                      <a:pt x="11748" y="4006"/>
                      <a:pt x="9581" y="6752"/>
                      <a:pt x="9363" y="10208"/>
                    </a:cubicBezTo>
                    <a:lnTo>
                      <a:pt x="9363" y="10382"/>
                    </a:lnTo>
                    <a:cubicBezTo>
                      <a:pt x="9363" y="10473"/>
                      <a:pt x="9363" y="10709"/>
                      <a:pt x="9363" y="10800"/>
                    </a:cubicBezTo>
                    <a:lnTo>
                      <a:pt x="10728" y="10800"/>
                    </a:lnTo>
                    <a:cubicBezTo>
                      <a:pt x="10728" y="10618"/>
                      <a:pt x="10728" y="10459"/>
                      <a:pt x="10728" y="10277"/>
                    </a:cubicBezTo>
                    <a:cubicBezTo>
                      <a:pt x="10915" y="7913"/>
                      <a:pt x="12433" y="5957"/>
                      <a:pt x="14176" y="5957"/>
                    </a:cubicBezTo>
                    <a:lnTo>
                      <a:pt x="14176" y="4006"/>
                    </a:lnTo>
                    <a:close/>
                  </a:path>
                </a:pathLst>
              </a:custGeom>
              <a:solidFill>
                <a:srgbClr val="555556"/>
              </a:solidFill>
              <a:ln w="12700">
                <a:miter lim="400000"/>
              </a:ln>
            </p:spPr>
            <p:txBody>
              <a:bodyPr lIns="45719" rIns="45719" anchor="ctr"/>
              <a:lstStyle>
                <a:defPPr marL="0" marR="0" indent="0" algn="l" defTabSz="914400" rtl="0" fontAlgn="auto" latinLnBrk="1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800" b="0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</a:defRPr>
                </a:defPPr>
                <a:lvl1pPr marL="0" marR="0" indent="0" algn="ctr" defTabSz="8255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5000" b="0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  <a:latin typeface="Helvetica Light"/>
                    <a:ea typeface="Helvetica Light"/>
                    <a:cs typeface="Helvetica Light"/>
                    <a:sym typeface="Helvetica Light"/>
                  </a:defRPr>
                </a:lvl1pPr>
                <a:lvl2pPr marL="0" marR="0" indent="228600" algn="ctr" defTabSz="8255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5000" b="0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  <a:latin typeface="Helvetica Light"/>
                    <a:ea typeface="Helvetica Light"/>
                    <a:cs typeface="Helvetica Light"/>
                    <a:sym typeface="Helvetica Light"/>
                  </a:defRPr>
                </a:lvl2pPr>
                <a:lvl3pPr marL="0" marR="0" indent="457200" algn="ctr" defTabSz="8255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5000" b="0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  <a:latin typeface="Helvetica Light"/>
                    <a:ea typeface="Helvetica Light"/>
                    <a:cs typeface="Helvetica Light"/>
                    <a:sym typeface="Helvetica Light"/>
                  </a:defRPr>
                </a:lvl3pPr>
                <a:lvl4pPr marL="0" marR="0" indent="685800" algn="ctr" defTabSz="8255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5000" b="0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  <a:latin typeface="Helvetica Light"/>
                    <a:ea typeface="Helvetica Light"/>
                    <a:cs typeface="Helvetica Light"/>
                    <a:sym typeface="Helvetica Light"/>
                  </a:defRPr>
                </a:lvl4pPr>
                <a:lvl5pPr marL="0" marR="0" indent="914400" algn="ctr" defTabSz="8255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5000" b="0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  <a:latin typeface="Helvetica Light"/>
                    <a:ea typeface="Helvetica Light"/>
                    <a:cs typeface="Helvetica Light"/>
                    <a:sym typeface="Helvetica Light"/>
                  </a:defRPr>
                </a:lvl5pPr>
                <a:lvl6pPr marL="0" marR="0" indent="1143000" algn="ctr" defTabSz="8255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5000" b="0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  <a:latin typeface="Helvetica Light"/>
                    <a:ea typeface="Helvetica Light"/>
                    <a:cs typeface="Helvetica Light"/>
                    <a:sym typeface="Helvetica Light"/>
                  </a:defRPr>
                </a:lvl6pPr>
                <a:lvl7pPr marL="0" marR="0" indent="1371600" algn="ctr" defTabSz="8255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5000" b="0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  <a:latin typeface="Helvetica Light"/>
                    <a:ea typeface="Helvetica Light"/>
                    <a:cs typeface="Helvetica Light"/>
                    <a:sym typeface="Helvetica Light"/>
                  </a:defRPr>
                </a:lvl7pPr>
                <a:lvl8pPr marL="0" marR="0" indent="1600200" algn="ctr" defTabSz="8255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5000" b="0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  <a:latin typeface="Helvetica Light"/>
                    <a:ea typeface="Helvetica Light"/>
                    <a:cs typeface="Helvetica Light"/>
                    <a:sym typeface="Helvetica Light"/>
                  </a:defRPr>
                </a:lvl8pPr>
                <a:lvl9pPr marL="0" marR="0" indent="1828800" algn="ctr" defTabSz="8255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5000" b="0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  <a:latin typeface="Helvetica Light"/>
                    <a:ea typeface="Helvetica Light"/>
                    <a:cs typeface="Helvetica Light"/>
                    <a:sym typeface="Helvetica Light"/>
                  </a:defRPr>
                </a:lvl9pPr>
              </a:lstStyle>
              <a:p>
                <a:pPr algn="l" defTabSz="457200">
                  <a:lnSpc>
                    <a:spcPct val="93000"/>
                  </a:lnSpc>
                  <a:defRPr sz="1800">
                    <a:latin typeface="Open Sans"/>
                    <a:ea typeface="Open Sans"/>
                    <a:cs typeface="Open Sans"/>
                    <a:sym typeface="Open Sans"/>
                  </a:defRPr>
                </a:pPr>
                <a:endParaRPr lang="de-DE" sz="1800" dirty="0">
                  <a:latin typeface="Segoe UI Light" panose="020B0502040204020203" pitchFamily="34" charset="0"/>
                  <a:cs typeface="Segoe UI Light" panose="020B0502040204020203" pitchFamily="34" charset="0"/>
                  <a:sym typeface="Open Sans"/>
                </a:endParaRPr>
              </a:p>
            </p:txBody>
          </p:sp>
          <p:cxnSp>
            <p:nvCxnSpPr>
              <p:cNvPr id="39" name="Straight Connector 64">
                <a:extLst>
                  <a:ext uri="{FF2B5EF4-FFF2-40B4-BE49-F238E27FC236}">
                    <a16:creationId xmlns:a16="http://schemas.microsoft.com/office/drawing/2014/main" id="{62FC35EE-37F5-46CB-A39B-759D1A18DD5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06020" y="1561076"/>
                <a:ext cx="438540" cy="431427"/>
              </a:xfrm>
              <a:prstGeom prst="line">
                <a:avLst/>
              </a:prstGeom>
              <a:ln w="28575">
                <a:solidFill>
                  <a:schemeClr val="bg2">
                    <a:lumMod val="25000"/>
                  </a:schemeClr>
                </a:solidFill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783A77FB-B8A7-462C-BECE-BF5CA0671407}"/>
              </a:ext>
            </a:extLst>
          </p:cNvPr>
          <p:cNvGrpSpPr/>
          <p:nvPr/>
        </p:nvGrpSpPr>
        <p:grpSpPr>
          <a:xfrm>
            <a:off x="1529983" y="3762256"/>
            <a:ext cx="2858994" cy="2442839"/>
            <a:chOff x="1529983" y="3762256"/>
            <a:chExt cx="2858994" cy="2442839"/>
          </a:xfrm>
        </p:grpSpPr>
        <p:grpSp>
          <p:nvGrpSpPr>
            <p:cNvPr id="2" name="Gruppieren 1">
              <a:extLst>
                <a:ext uri="{FF2B5EF4-FFF2-40B4-BE49-F238E27FC236}">
                  <a16:creationId xmlns:a16="http://schemas.microsoft.com/office/drawing/2014/main" id="{BF4BBEDA-A702-410B-9960-CD15ABC22EA9}"/>
                </a:ext>
              </a:extLst>
            </p:cNvPr>
            <p:cNvGrpSpPr/>
            <p:nvPr/>
          </p:nvGrpSpPr>
          <p:grpSpPr>
            <a:xfrm>
              <a:off x="1529983" y="3762256"/>
              <a:ext cx="594360" cy="1645560"/>
              <a:chOff x="1529983" y="3762256"/>
              <a:chExt cx="594360" cy="1645560"/>
            </a:xfrm>
          </p:grpSpPr>
          <p:cxnSp>
            <p:nvCxnSpPr>
              <p:cNvPr id="21" name="Straight Connector 34">
                <a:extLst>
                  <a:ext uri="{FF2B5EF4-FFF2-40B4-BE49-F238E27FC236}">
                    <a16:creationId xmlns:a16="http://schemas.microsoft.com/office/drawing/2014/main" id="{8815198C-E096-4898-8472-997B4DE6C37D}"/>
                  </a:ext>
                </a:extLst>
              </p:cNvPr>
              <p:cNvCxnSpPr/>
              <p:nvPr/>
            </p:nvCxnSpPr>
            <p:spPr>
              <a:xfrm>
                <a:off x="1818997" y="3762256"/>
                <a:ext cx="0" cy="1244869"/>
              </a:xfrm>
              <a:prstGeom prst="line">
                <a:avLst/>
              </a:prstGeom>
              <a:noFill/>
              <a:ln w="38100" cap="flat">
                <a:solidFill>
                  <a:srgbClr val="000000"/>
                </a:solidFill>
                <a:prstDash val="solid"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sp>
            <p:nvSpPr>
              <p:cNvPr id="33" name="Oval 41">
                <a:extLst>
                  <a:ext uri="{FF2B5EF4-FFF2-40B4-BE49-F238E27FC236}">
                    <a16:creationId xmlns:a16="http://schemas.microsoft.com/office/drawing/2014/main" id="{A5977A51-FE53-40E4-B495-F1CCA75332ED}"/>
                  </a:ext>
                </a:extLst>
              </p:cNvPr>
              <p:cNvSpPr/>
              <p:nvPr/>
            </p:nvSpPr>
            <p:spPr>
              <a:xfrm>
                <a:off x="1529983" y="4982920"/>
                <a:ext cx="594360" cy="418366"/>
              </a:xfrm>
              <a:prstGeom prst="ellipse">
                <a:avLst/>
              </a:prstGeom>
              <a:solidFill>
                <a:schemeClr val="bg1"/>
              </a:solidFill>
              <a:ln w="76200" cap="flat">
                <a:solidFill>
                  <a:srgbClr val="533F6F"/>
                </a:solidFill>
                <a:miter lim="400000"/>
              </a:ln>
              <a:effectLst>
                <a:outerShdw blurRad="38100" dist="25400" dir="5400000" rotWithShape="0">
                  <a:srgbClr val="000000">
                    <a:alpha val="50000"/>
                  </a:srgbClr>
                </a:outerShdw>
              </a:effectLst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25400" tIns="25400" rIns="25400" bIns="25400" numCol="1" spcCol="38100" rtlCol="0" anchor="ctr">
                <a:spAutoFit/>
              </a:bodyPr>
              <a:lstStyle/>
              <a:p>
                <a:endParaRPr lang="de-DE" sz="1600" dirty="0">
                  <a:solidFill>
                    <a:prstClr val="white">
                      <a:lumMod val="95000"/>
                    </a:prst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44" name="Shape">
                <a:extLst>
                  <a:ext uri="{FF2B5EF4-FFF2-40B4-BE49-F238E27FC236}">
                    <a16:creationId xmlns:a16="http://schemas.microsoft.com/office/drawing/2014/main" id="{F1D39462-8DCE-4D6B-BA26-973C9175354D}"/>
                  </a:ext>
                </a:extLst>
              </p:cNvPr>
              <p:cNvSpPr/>
              <p:nvPr/>
            </p:nvSpPr>
            <p:spPr>
              <a:xfrm>
                <a:off x="1584605" y="5054942"/>
                <a:ext cx="457200" cy="27432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4176" y="0"/>
                    </a:moveTo>
                    <a:cubicBezTo>
                      <a:pt x="10303" y="91"/>
                      <a:pt x="7097" y="4432"/>
                      <a:pt x="6753" y="9859"/>
                    </a:cubicBezTo>
                    <a:cubicBezTo>
                      <a:pt x="6753" y="10088"/>
                      <a:pt x="6753" y="10363"/>
                      <a:pt x="6753" y="10591"/>
                    </a:cubicBezTo>
                    <a:cubicBezTo>
                      <a:pt x="6753" y="10682"/>
                      <a:pt x="6753" y="10778"/>
                      <a:pt x="6753" y="10870"/>
                    </a:cubicBezTo>
                    <a:lnTo>
                      <a:pt x="8094" y="10870"/>
                    </a:lnTo>
                    <a:cubicBezTo>
                      <a:pt x="8094" y="10687"/>
                      <a:pt x="8094" y="10588"/>
                      <a:pt x="8094" y="10452"/>
                    </a:cubicBezTo>
                    <a:cubicBezTo>
                      <a:pt x="8094" y="10269"/>
                      <a:pt x="8094" y="10181"/>
                      <a:pt x="8094" y="9999"/>
                    </a:cubicBezTo>
                    <a:cubicBezTo>
                      <a:pt x="8375" y="5438"/>
                      <a:pt x="11062" y="1881"/>
                      <a:pt x="14248" y="1881"/>
                    </a:cubicBezTo>
                    <a:cubicBezTo>
                      <a:pt x="17559" y="1881"/>
                      <a:pt x="20235" y="5931"/>
                      <a:pt x="20235" y="10765"/>
                    </a:cubicBezTo>
                    <a:cubicBezTo>
                      <a:pt x="20235" y="15691"/>
                      <a:pt x="17550" y="19614"/>
                      <a:pt x="14176" y="19614"/>
                    </a:cubicBezTo>
                    <a:lnTo>
                      <a:pt x="5388" y="19614"/>
                    </a:lnTo>
                    <a:cubicBezTo>
                      <a:pt x="3139" y="19614"/>
                      <a:pt x="1341" y="17010"/>
                      <a:pt x="1341" y="13726"/>
                    </a:cubicBezTo>
                    <a:cubicBezTo>
                      <a:pt x="1341" y="10488"/>
                      <a:pt x="3139" y="7804"/>
                      <a:pt x="5388" y="7804"/>
                    </a:cubicBezTo>
                    <a:lnTo>
                      <a:pt x="5388" y="5853"/>
                    </a:lnTo>
                    <a:cubicBezTo>
                      <a:pt x="2389" y="5853"/>
                      <a:pt x="0" y="9394"/>
                      <a:pt x="0" y="13726"/>
                    </a:cubicBezTo>
                    <a:cubicBezTo>
                      <a:pt x="0" y="18059"/>
                      <a:pt x="2389" y="21600"/>
                      <a:pt x="5388" y="21600"/>
                    </a:cubicBezTo>
                    <a:lnTo>
                      <a:pt x="14176" y="21600"/>
                    </a:lnTo>
                    <a:cubicBezTo>
                      <a:pt x="18300" y="21600"/>
                      <a:pt x="21600" y="16799"/>
                      <a:pt x="21600" y="10870"/>
                    </a:cubicBezTo>
                    <a:cubicBezTo>
                      <a:pt x="21600" y="4941"/>
                      <a:pt x="18357" y="91"/>
                      <a:pt x="14296" y="0"/>
                    </a:cubicBezTo>
                    <a:lnTo>
                      <a:pt x="14176" y="0"/>
                    </a:lnTo>
                    <a:close/>
                    <a:moveTo>
                      <a:pt x="14176" y="4006"/>
                    </a:moveTo>
                    <a:cubicBezTo>
                      <a:pt x="11748" y="4006"/>
                      <a:pt x="9581" y="6752"/>
                      <a:pt x="9363" y="10208"/>
                    </a:cubicBezTo>
                    <a:lnTo>
                      <a:pt x="9363" y="10382"/>
                    </a:lnTo>
                    <a:cubicBezTo>
                      <a:pt x="9363" y="10473"/>
                      <a:pt x="9363" y="10709"/>
                      <a:pt x="9363" y="10800"/>
                    </a:cubicBezTo>
                    <a:lnTo>
                      <a:pt x="10728" y="10800"/>
                    </a:lnTo>
                    <a:cubicBezTo>
                      <a:pt x="10728" y="10618"/>
                      <a:pt x="10728" y="10459"/>
                      <a:pt x="10728" y="10277"/>
                    </a:cubicBezTo>
                    <a:cubicBezTo>
                      <a:pt x="10915" y="7913"/>
                      <a:pt x="12433" y="5957"/>
                      <a:pt x="14176" y="5957"/>
                    </a:cubicBezTo>
                    <a:lnTo>
                      <a:pt x="14176" y="4006"/>
                    </a:lnTo>
                    <a:close/>
                  </a:path>
                </a:pathLst>
              </a:custGeom>
              <a:solidFill>
                <a:srgbClr val="555556"/>
              </a:solidFill>
              <a:ln w="12700">
                <a:miter lim="400000"/>
              </a:ln>
            </p:spPr>
            <p:txBody>
              <a:bodyPr lIns="45719" rIns="45719" anchor="ctr"/>
              <a:lstStyle>
                <a:defPPr marL="0" marR="0" indent="0" algn="l" defTabSz="914400" rtl="0" fontAlgn="auto" latinLnBrk="1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800" b="0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</a:defRPr>
                </a:defPPr>
                <a:lvl1pPr marL="0" marR="0" indent="0" algn="ctr" defTabSz="8255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5000" b="0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  <a:latin typeface="Helvetica Light"/>
                    <a:ea typeface="Helvetica Light"/>
                    <a:cs typeface="Helvetica Light"/>
                    <a:sym typeface="Helvetica Light"/>
                  </a:defRPr>
                </a:lvl1pPr>
                <a:lvl2pPr marL="0" marR="0" indent="228600" algn="ctr" defTabSz="8255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5000" b="0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  <a:latin typeface="Helvetica Light"/>
                    <a:ea typeface="Helvetica Light"/>
                    <a:cs typeface="Helvetica Light"/>
                    <a:sym typeface="Helvetica Light"/>
                  </a:defRPr>
                </a:lvl2pPr>
                <a:lvl3pPr marL="0" marR="0" indent="457200" algn="ctr" defTabSz="8255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5000" b="0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  <a:latin typeface="Helvetica Light"/>
                    <a:ea typeface="Helvetica Light"/>
                    <a:cs typeface="Helvetica Light"/>
                    <a:sym typeface="Helvetica Light"/>
                  </a:defRPr>
                </a:lvl3pPr>
                <a:lvl4pPr marL="0" marR="0" indent="685800" algn="ctr" defTabSz="8255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5000" b="0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  <a:latin typeface="Helvetica Light"/>
                    <a:ea typeface="Helvetica Light"/>
                    <a:cs typeface="Helvetica Light"/>
                    <a:sym typeface="Helvetica Light"/>
                  </a:defRPr>
                </a:lvl4pPr>
                <a:lvl5pPr marL="0" marR="0" indent="914400" algn="ctr" defTabSz="8255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5000" b="0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  <a:latin typeface="Helvetica Light"/>
                    <a:ea typeface="Helvetica Light"/>
                    <a:cs typeface="Helvetica Light"/>
                    <a:sym typeface="Helvetica Light"/>
                  </a:defRPr>
                </a:lvl5pPr>
                <a:lvl6pPr marL="0" marR="0" indent="1143000" algn="ctr" defTabSz="8255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5000" b="0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  <a:latin typeface="Helvetica Light"/>
                    <a:ea typeface="Helvetica Light"/>
                    <a:cs typeface="Helvetica Light"/>
                    <a:sym typeface="Helvetica Light"/>
                  </a:defRPr>
                </a:lvl6pPr>
                <a:lvl7pPr marL="0" marR="0" indent="1371600" algn="ctr" defTabSz="8255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5000" b="0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  <a:latin typeface="Helvetica Light"/>
                    <a:ea typeface="Helvetica Light"/>
                    <a:cs typeface="Helvetica Light"/>
                    <a:sym typeface="Helvetica Light"/>
                  </a:defRPr>
                </a:lvl7pPr>
                <a:lvl8pPr marL="0" marR="0" indent="1600200" algn="ctr" defTabSz="8255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5000" b="0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  <a:latin typeface="Helvetica Light"/>
                    <a:ea typeface="Helvetica Light"/>
                    <a:cs typeface="Helvetica Light"/>
                    <a:sym typeface="Helvetica Light"/>
                  </a:defRPr>
                </a:lvl8pPr>
                <a:lvl9pPr marL="0" marR="0" indent="1828800" algn="ctr" defTabSz="8255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5000" b="0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  <a:latin typeface="Helvetica Light"/>
                    <a:ea typeface="Helvetica Light"/>
                    <a:cs typeface="Helvetica Light"/>
                    <a:sym typeface="Helvetica Light"/>
                  </a:defRPr>
                </a:lvl9pPr>
              </a:lstStyle>
              <a:p>
                <a:pPr algn="l" defTabSz="457200">
                  <a:lnSpc>
                    <a:spcPct val="93000"/>
                  </a:lnSpc>
                  <a:defRPr sz="1800">
                    <a:latin typeface="Open Sans"/>
                    <a:ea typeface="Open Sans"/>
                    <a:cs typeface="Open Sans"/>
                    <a:sym typeface="Open Sans"/>
                  </a:defRPr>
                </a:pPr>
                <a:endParaRPr lang="de-DE" sz="1800" dirty="0">
                  <a:latin typeface="Segoe UI Light" panose="020B0502040204020203" pitchFamily="34" charset="0"/>
                  <a:cs typeface="Segoe UI Light" panose="020B0502040204020203" pitchFamily="34" charset="0"/>
                  <a:sym typeface="Open Sans"/>
                </a:endParaRPr>
              </a:p>
            </p:txBody>
          </p:sp>
          <p:cxnSp>
            <p:nvCxnSpPr>
              <p:cNvPr id="45" name="Straight Connector 75">
                <a:extLst>
                  <a:ext uri="{FF2B5EF4-FFF2-40B4-BE49-F238E27FC236}">
                    <a16:creationId xmlns:a16="http://schemas.microsoft.com/office/drawing/2014/main" id="{E9EC7C7C-4AA7-4A96-B6FA-2D6C197E482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84605" y="4976389"/>
                <a:ext cx="438540" cy="431427"/>
              </a:xfrm>
              <a:prstGeom prst="line">
                <a:avLst/>
              </a:prstGeom>
              <a:ln w="28575">
                <a:solidFill>
                  <a:schemeClr val="bg2">
                    <a:lumMod val="25000"/>
                  </a:schemeClr>
                </a:solidFill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sp>
          <p:nvSpPr>
            <p:cNvPr id="52" name="TextBox 82">
              <a:extLst>
                <a:ext uri="{FF2B5EF4-FFF2-40B4-BE49-F238E27FC236}">
                  <a16:creationId xmlns:a16="http://schemas.microsoft.com/office/drawing/2014/main" id="{B5C7AECB-AE75-4FFE-BCF3-AF05F7E3AE6E}"/>
                </a:ext>
              </a:extLst>
            </p:cNvPr>
            <p:cNvSpPr txBox="1"/>
            <p:nvPr/>
          </p:nvSpPr>
          <p:spPr>
            <a:xfrm>
              <a:off x="2374600" y="5307413"/>
              <a:ext cx="2014377" cy="89768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5400" tIns="25400" rIns="25400" bIns="25400" numCol="1" spcCol="38100" rtlCol="0" anchor="ctr">
              <a:spAutoFit/>
            </a:bodyPr>
            <a:lstStyle/>
            <a:p>
              <a:pPr algn="l"/>
              <a:r>
                <a:rPr lang="de-DE" sz="1100" b="1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19. November 2018 </a:t>
              </a:r>
            </a:p>
            <a:p>
              <a:pPr algn="l"/>
              <a:r>
                <a:rPr lang="de-DE" sz="11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Globale Azure AD Störung durch die sich Anwender weltweit nicht an Office 365 anmelden konnten</a:t>
              </a:r>
              <a:br>
                <a:rPr lang="de-DE" sz="1100" dirty="0"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lang="de-DE" sz="1100" dirty="0">
                  <a:latin typeface="Segoe UI Light" panose="020B0502040204020203" pitchFamily="34" charset="0"/>
                  <a:cs typeface="Segoe UI Light" panose="020B0502040204020203" pitchFamily="34" charset="0"/>
                  <a:hlinkClick r:id="rId9"/>
                </a:rPr>
                <a:t>Analyse der Störung</a:t>
              </a:r>
              <a:r>
                <a:rPr lang="de-DE" sz="11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</a:p>
          </p:txBody>
        </p:sp>
        <p:sp>
          <p:nvSpPr>
            <p:cNvPr id="53" name="TextBox 83">
              <a:extLst>
                <a:ext uri="{FF2B5EF4-FFF2-40B4-BE49-F238E27FC236}">
                  <a16:creationId xmlns:a16="http://schemas.microsoft.com/office/drawing/2014/main" id="{62BE775D-EDD3-4BB8-B961-8ECBC861631F}"/>
                </a:ext>
              </a:extLst>
            </p:cNvPr>
            <p:cNvSpPr txBox="1"/>
            <p:nvPr/>
          </p:nvSpPr>
          <p:spPr>
            <a:xfrm>
              <a:off x="2374600" y="4992638"/>
              <a:ext cx="1777707" cy="29751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5400" tIns="25400" rIns="25400" bIns="25400" numCol="1" spcCol="38100" rtlCol="0" anchor="ctr">
              <a:spAutoFit/>
            </a:bodyPr>
            <a:lstStyle/>
            <a:p>
              <a:pPr algn="l"/>
              <a:r>
                <a:rPr lang="de-DE" sz="1600" b="1" dirty="0">
                  <a:solidFill>
                    <a:prstClr val="black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Azure MFA Störung</a:t>
              </a:r>
            </a:p>
          </p:txBody>
        </p:sp>
      </p:grp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BB6DB7D0-CAB7-46A9-8B61-49ED66677DA3}"/>
              </a:ext>
            </a:extLst>
          </p:cNvPr>
          <p:cNvGrpSpPr/>
          <p:nvPr/>
        </p:nvGrpSpPr>
        <p:grpSpPr>
          <a:xfrm>
            <a:off x="7848743" y="1606743"/>
            <a:ext cx="3213749" cy="1532276"/>
            <a:chOff x="7848743" y="1606743"/>
            <a:chExt cx="3213749" cy="1532276"/>
          </a:xfrm>
        </p:grpSpPr>
        <p:grpSp>
          <p:nvGrpSpPr>
            <p:cNvPr id="8" name="Gruppieren 7">
              <a:extLst>
                <a:ext uri="{FF2B5EF4-FFF2-40B4-BE49-F238E27FC236}">
                  <a16:creationId xmlns:a16="http://schemas.microsoft.com/office/drawing/2014/main" id="{C05D71FE-2896-452E-9902-67184406A48D}"/>
                </a:ext>
              </a:extLst>
            </p:cNvPr>
            <p:cNvGrpSpPr/>
            <p:nvPr/>
          </p:nvGrpSpPr>
          <p:grpSpPr>
            <a:xfrm>
              <a:off x="7848743" y="1614601"/>
              <a:ext cx="594360" cy="1524418"/>
              <a:chOff x="7848743" y="1614601"/>
              <a:chExt cx="594360" cy="1524418"/>
            </a:xfrm>
          </p:grpSpPr>
          <p:cxnSp>
            <p:nvCxnSpPr>
              <p:cNvPr id="19" name="Straight Connector 31">
                <a:extLst>
                  <a:ext uri="{FF2B5EF4-FFF2-40B4-BE49-F238E27FC236}">
                    <a16:creationId xmlns:a16="http://schemas.microsoft.com/office/drawing/2014/main" id="{A9BD7217-D941-414C-906E-24DE02B591D3}"/>
                  </a:ext>
                </a:extLst>
              </p:cNvPr>
              <p:cNvCxnSpPr/>
              <p:nvPr/>
            </p:nvCxnSpPr>
            <p:spPr>
              <a:xfrm>
                <a:off x="8139573" y="1878112"/>
                <a:ext cx="12700" cy="1260907"/>
              </a:xfrm>
              <a:prstGeom prst="line">
                <a:avLst/>
              </a:prstGeom>
              <a:noFill/>
              <a:ln w="38100" cap="flat">
                <a:solidFill>
                  <a:srgbClr val="000000"/>
                </a:solidFill>
                <a:prstDash val="solid"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sp>
            <p:nvSpPr>
              <p:cNvPr id="34" name="Oval 42">
                <a:extLst>
                  <a:ext uri="{FF2B5EF4-FFF2-40B4-BE49-F238E27FC236}">
                    <a16:creationId xmlns:a16="http://schemas.microsoft.com/office/drawing/2014/main" id="{85EA1C6C-CCB7-44E2-B5D6-8978D948633E}"/>
                  </a:ext>
                </a:extLst>
              </p:cNvPr>
              <p:cNvSpPr/>
              <p:nvPr/>
            </p:nvSpPr>
            <p:spPr>
              <a:xfrm>
                <a:off x="7848743" y="1625866"/>
                <a:ext cx="594360" cy="418366"/>
              </a:xfrm>
              <a:prstGeom prst="ellipse">
                <a:avLst/>
              </a:prstGeom>
              <a:solidFill>
                <a:schemeClr val="bg1"/>
              </a:solidFill>
              <a:ln w="76200" cap="flat">
                <a:solidFill>
                  <a:srgbClr val="35E7C5"/>
                </a:solidFill>
                <a:miter lim="400000"/>
              </a:ln>
              <a:effectLst>
                <a:outerShdw blurRad="38100" dist="25400" dir="5400000" rotWithShape="0">
                  <a:srgbClr val="000000">
                    <a:alpha val="50000"/>
                  </a:srgbClr>
                </a:outerShdw>
              </a:effectLst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25400" tIns="25400" rIns="25400" bIns="25400" numCol="1" spcCol="38100" rtlCol="0" anchor="ctr">
                <a:spAutoFit/>
              </a:bodyPr>
              <a:lstStyle/>
              <a:p>
                <a:endParaRPr lang="de-DE" sz="1600" dirty="0">
                  <a:solidFill>
                    <a:prstClr val="white">
                      <a:lumMod val="95000"/>
                    </a:prst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42" name="Shape">
                <a:extLst>
                  <a:ext uri="{FF2B5EF4-FFF2-40B4-BE49-F238E27FC236}">
                    <a16:creationId xmlns:a16="http://schemas.microsoft.com/office/drawing/2014/main" id="{86E7152C-3640-49AF-8A49-C2B218F44821}"/>
                  </a:ext>
                </a:extLst>
              </p:cNvPr>
              <p:cNvSpPr/>
              <p:nvPr/>
            </p:nvSpPr>
            <p:spPr>
              <a:xfrm>
                <a:off x="7935728" y="1693155"/>
                <a:ext cx="457200" cy="27432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4176" y="0"/>
                    </a:moveTo>
                    <a:cubicBezTo>
                      <a:pt x="10303" y="91"/>
                      <a:pt x="7097" y="4432"/>
                      <a:pt x="6753" y="9859"/>
                    </a:cubicBezTo>
                    <a:cubicBezTo>
                      <a:pt x="6753" y="10088"/>
                      <a:pt x="6753" y="10363"/>
                      <a:pt x="6753" y="10591"/>
                    </a:cubicBezTo>
                    <a:cubicBezTo>
                      <a:pt x="6753" y="10682"/>
                      <a:pt x="6753" y="10778"/>
                      <a:pt x="6753" y="10870"/>
                    </a:cubicBezTo>
                    <a:lnTo>
                      <a:pt x="8094" y="10870"/>
                    </a:lnTo>
                    <a:cubicBezTo>
                      <a:pt x="8094" y="10687"/>
                      <a:pt x="8094" y="10588"/>
                      <a:pt x="8094" y="10452"/>
                    </a:cubicBezTo>
                    <a:cubicBezTo>
                      <a:pt x="8094" y="10269"/>
                      <a:pt x="8094" y="10181"/>
                      <a:pt x="8094" y="9999"/>
                    </a:cubicBezTo>
                    <a:cubicBezTo>
                      <a:pt x="8375" y="5438"/>
                      <a:pt x="11062" y="1881"/>
                      <a:pt x="14248" y="1881"/>
                    </a:cubicBezTo>
                    <a:cubicBezTo>
                      <a:pt x="17559" y="1881"/>
                      <a:pt x="20235" y="5931"/>
                      <a:pt x="20235" y="10765"/>
                    </a:cubicBezTo>
                    <a:cubicBezTo>
                      <a:pt x="20235" y="15691"/>
                      <a:pt x="17550" y="19614"/>
                      <a:pt x="14176" y="19614"/>
                    </a:cubicBezTo>
                    <a:lnTo>
                      <a:pt x="5388" y="19614"/>
                    </a:lnTo>
                    <a:cubicBezTo>
                      <a:pt x="3139" y="19614"/>
                      <a:pt x="1341" y="17010"/>
                      <a:pt x="1341" y="13726"/>
                    </a:cubicBezTo>
                    <a:cubicBezTo>
                      <a:pt x="1341" y="10488"/>
                      <a:pt x="3139" y="7804"/>
                      <a:pt x="5388" y="7804"/>
                    </a:cubicBezTo>
                    <a:lnTo>
                      <a:pt x="5388" y="5853"/>
                    </a:lnTo>
                    <a:cubicBezTo>
                      <a:pt x="2389" y="5853"/>
                      <a:pt x="0" y="9394"/>
                      <a:pt x="0" y="13726"/>
                    </a:cubicBezTo>
                    <a:cubicBezTo>
                      <a:pt x="0" y="18059"/>
                      <a:pt x="2389" y="21600"/>
                      <a:pt x="5388" y="21600"/>
                    </a:cubicBezTo>
                    <a:lnTo>
                      <a:pt x="14176" y="21600"/>
                    </a:lnTo>
                    <a:cubicBezTo>
                      <a:pt x="18300" y="21600"/>
                      <a:pt x="21600" y="16799"/>
                      <a:pt x="21600" y="10870"/>
                    </a:cubicBezTo>
                    <a:cubicBezTo>
                      <a:pt x="21600" y="4941"/>
                      <a:pt x="18357" y="91"/>
                      <a:pt x="14296" y="0"/>
                    </a:cubicBezTo>
                    <a:lnTo>
                      <a:pt x="14176" y="0"/>
                    </a:lnTo>
                    <a:close/>
                    <a:moveTo>
                      <a:pt x="14176" y="4006"/>
                    </a:moveTo>
                    <a:cubicBezTo>
                      <a:pt x="11748" y="4006"/>
                      <a:pt x="9581" y="6752"/>
                      <a:pt x="9363" y="10208"/>
                    </a:cubicBezTo>
                    <a:lnTo>
                      <a:pt x="9363" y="10382"/>
                    </a:lnTo>
                    <a:cubicBezTo>
                      <a:pt x="9363" y="10473"/>
                      <a:pt x="9363" y="10709"/>
                      <a:pt x="9363" y="10800"/>
                    </a:cubicBezTo>
                    <a:lnTo>
                      <a:pt x="10728" y="10800"/>
                    </a:lnTo>
                    <a:cubicBezTo>
                      <a:pt x="10728" y="10618"/>
                      <a:pt x="10728" y="10459"/>
                      <a:pt x="10728" y="10277"/>
                    </a:cubicBezTo>
                    <a:cubicBezTo>
                      <a:pt x="10915" y="7913"/>
                      <a:pt x="12433" y="5957"/>
                      <a:pt x="14176" y="5957"/>
                    </a:cubicBezTo>
                    <a:lnTo>
                      <a:pt x="14176" y="4006"/>
                    </a:lnTo>
                    <a:close/>
                  </a:path>
                </a:pathLst>
              </a:custGeom>
              <a:solidFill>
                <a:srgbClr val="555556"/>
              </a:solidFill>
              <a:ln w="12700">
                <a:miter lim="400000"/>
              </a:ln>
            </p:spPr>
            <p:txBody>
              <a:bodyPr lIns="45719" rIns="45719" anchor="ctr"/>
              <a:lstStyle>
                <a:defPPr marL="0" marR="0" indent="0" algn="l" defTabSz="914400" rtl="0" fontAlgn="auto" latinLnBrk="1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800" b="0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</a:defRPr>
                </a:defPPr>
                <a:lvl1pPr marL="0" marR="0" indent="0" algn="ctr" defTabSz="8255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5000" b="0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  <a:latin typeface="Helvetica Light"/>
                    <a:ea typeface="Helvetica Light"/>
                    <a:cs typeface="Helvetica Light"/>
                    <a:sym typeface="Helvetica Light"/>
                  </a:defRPr>
                </a:lvl1pPr>
                <a:lvl2pPr marL="0" marR="0" indent="228600" algn="ctr" defTabSz="8255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5000" b="0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  <a:latin typeface="Helvetica Light"/>
                    <a:ea typeface="Helvetica Light"/>
                    <a:cs typeface="Helvetica Light"/>
                    <a:sym typeface="Helvetica Light"/>
                  </a:defRPr>
                </a:lvl2pPr>
                <a:lvl3pPr marL="0" marR="0" indent="457200" algn="ctr" defTabSz="8255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5000" b="0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  <a:latin typeface="Helvetica Light"/>
                    <a:ea typeface="Helvetica Light"/>
                    <a:cs typeface="Helvetica Light"/>
                    <a:sym typeface="Helvetica Light"/>
                  </a:defRPr>
                </a:lvl3pPr>
                <a:lvl4pPr marL="0" marR="0" indent="685800" algn="ctr" defTabSz="8255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5000" b="0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  <a:latin typeface="Helvetica Light"/>
                    <a:ea typeface="Helvetica Light"/>
                    <a:cs typeface="Helvetica Light"/>
                    <a:sym typeface="Helvetica Light"/>
                  </a:defRPr>
                </a:lvl4pPr>
                <a:lvl5pPr marL="0" marR="0" indent="914400" algn="ctr" defTabSz="8255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5000" b="0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  <a:latin typeface="Helvetica Light"/>
                    <a:ea typeface="Helvetica Light"/>
                    <a:cs typeface="Helvetica Light"/>
                    <a:sym typeface="Helvetica Light"/>
                  </a:defRPr>
                </a:lvl5pPr>
                <a:lvl6pPr marL="0" marR="0" indent="1143000" algn="ctr" defTabSz="8255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5000" b="0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  <a:latin typeface="Helvetica Light"/>
                    <a:ea typeface="Helvetica Light"/>
                    <a:cs typeface="Helvetica Light"/>
                    <a:sym typeface="Helvetica Light"/>
                  </a:defRPr>
                </a:lvl6pPr>
                <a:lvl7pPr marL="0" marR="0" indent="1371600" algn="ctr" defTabSz="8255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5000" b="0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  <a:latin typeface="Helvetica Light"/>
                    <a:ea typeface="Helvetica Light"/>
                    <a:cs typeface="Helvetica Light"/>
                    <a:sym typeface="Helvetica Light"/>
                  </a:defRPr>
                </a:lvl7pPr>
                <a:lvl8pPr marL="0" marR="0" indent="1600200" algn="ctr" defTabSz="8255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5000" b="0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  <a:latin typeface="Helvetica Light"/>
                    <a:ea typeface="Helvetica Light"/>
                    <a:cs typeface="Helvetica Light"/>
                    <a:sym typeface="Helvetica Light"/>
                  </a:defRPr>
                </a:lvl8pPr>
                <a:lvl9pPr marL="0" marR="0" indent="1828800" algn="ctr" defTabSz="8255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5000" b="0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  <a:latin typeface="Helvetica Light"/>
                    <a:ea typeface="Helvetica Light"/>
                    <a:cs typeface="Helvetica Light"/>
                    <a:sym typeface="Helvetica Light"/>
                  </a:defRPr>
                </a:lvl9pPr>
              </a:lstStyle>
              <a:p>
                <a:pPr algn="l" defTabSz="457200">
                  <a:lnSpc>
                    <a:spcPct val="93000"/>
                  </a:lnSpc>
                  <a:defRPr sz="1800">
                    <a:latin typeface="Open Sans"/>
                    <a:ea typeface="Open Sans"/>
                    <a:cs typeface="Open Sans"/>
                    <a:sym typeface="Open Sans"/>
                  </a:defRPr>
                </a:pPr>
                <a:endParaRPr lang="de-DE" sz="1800" dirty="0">
                  <a:latin typeface="Segoe UI Light" panose="020B0502040204020203" pitchFamily="34" charset="0"/>
                  <a:cs typeface="Segoe UI Light" panose="020B0502040204020203" pitchFamily="34" charset="0"/>
                  <a:sym typeface="Open Sans"/>
                </a:endParaRPr>
              </a:p>
            </p:txBody>
          </p:sp>
          <p:cxnSp>
            <p:nvCxnSpPr>
              <p:cNvPr id="43" name="Straight Connector 73">
                <a:extLst>
                  <a:ext uri="{FF2B5EF4-FFF2-40B4-BE49-F238E27FC236}">
                    <a16:creationId xmlns:a16="http://schemas.microsoft.com/office/drawing/2014/main" id="{87D7D87A-65FB-4F50-8CBF-6D8EFE57435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935728" y="1614601"/>
                <a:ext cx="438540" cy="431427"/>
              </a:xfrm>
              <a:prstGeom prst="line">
                <a:avLst/>
              </a:prstGeom>
              <a:ln w="28575">
                <a:solidFill>
                  <a:schemeClr val="bg2">
                    <a:lumMod val="25000"/>
                  </a:schemeClr>
                </a:solidFill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sp>
          <p:nvSpPr>
            <p:cNvPr id="51" name="TextBox 81">
              <a:extLst>
                <a:ext uri="{FF2B5EF4-FFF2-40B4-BE49-F238E27FC236}">
                  <a16:creationId xmlns:a16="http://schemas.microsoft.com/office/drawing/2014/main" id="{64CE1BFE-06AF-417E-876C-571C67498E3F}"/>
                </a:ext>
              </a:extLst>
            </p:cNvPr>
            <p:cNvSpPr txBox="1"/>
            <p:nvPr/>
          </p:nvSpPr>
          <p:spPr>
            <a:xfrm>
              <a:off x="8812925" y="1606743"/>
              <a:ext cx="2023010" cy="29751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5400" tIns="25400" rIns="25400" bIns="25400" numCol="1" spcCol="38100" rtlCol="0" anchor="ctr">
              <a:spAutoFit/>
            </a:bodyPr>
            <a:lstStyle/>
            <a:p>
              <a:pPr algn="l"/>
              <a:r>
                <a:rPr lang="de-DE" sz="1600" b="1" dirty="0">
                  <a:solidFill>
                    <a:prstClr val="black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Teams Störung</a:t>
              </a:r>
            </a:p>
          </p:txBody>
        </p:sp>
        <p:sp>
          <p:nvSpPr>
            <p:cNvPr id="54" name="TextBox 84">
              <a:extLst>
                <a:ext uri="{FF2B5EF4-FFF2-40B4-BE49-F238E27FC236}">
                  <a16:creationId xmlns:a16="http://schemas.microsoft.com/office/drawing/2014/main" id="{9245AF7A-98BE-4B6C-A683-32562887D8E0}"/>
                </a:ext>
              </a:extLst>
            </p:cNvPr>
            <p:cNvSpPr txBox="1"/>
            <p:nvPr/>
          </p:nvSpPr>
          <p:spPr>
            <a:xfrm>
              <a:off x="8812925" y="1904260"/>
              <a:ext cx="2249567" cy="72840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5400" tIns="25400" rIns="25400" bIns="25400" numCol="1" spcCol="38100" rtlCol="0" anchor="ctr">
              <a:spAutoFit/>
            </a:bodyPr>
            <a:lstStyle/>
            <a:p>
              <a:pPr algn="l"/>
              <a:r>
                <a:rPr lang="de-DE" sz="1100" b="1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18. Februar 2019</a:t>
              </a:r>
            </a:p>
            <a:p>
              <a:pPr algn="l"/>
              <a:r>
                <a:rPr lang="de-DE" sz="11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Anwender konnten sich stundenlang nicht mit dem Chat-Service verbinden</a:t>
              </a:r>
            </a:p>
            <a:p>
              <a:pPr algn="l"/>
              <a:r>
                <a:rPr lang="de-DE" sz="1100" dirty="0">
                  <a:latin typeface="Segoe UI Light" panose="020B0502040204020203" pitchFamily="34" charset="0"/>
                  <a:cs typeface="Segoe UI Light" panose="020B0502040204020203" pitchFamily="34" charset="0"/>
                  <a:hlinkClick r:id="rId10"/>
                </a:rPr>
                <a:t>Analyse der Störung</a:t>
              </a:r>
              <a:r>
                <a:rPr lang="de-DE" sz="11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</a:p>
          </p:txBody>
        </p:sp>
      </p:grp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B4A3F4C3-2888-4A33-9B1C-38341503BF64}"/>
              </a:ext>
            </a:extLst>
          </p:cNvPr>
          <p:cNvGrpSpPr/>
          <p:nvPr/>
        </p:nvGrpSpPr>
        <p:grpSpPr>
          <a:xfrm>
            <a:off x="9232377" y="4016466"/>
            <a:ext cx="2523242" cy="2185268"/>
            <a:chOff x="9232377" y="4016466"/>
            <a:chExt cx="2523242" cy="2185268"/>
          </a:xfrm>
        </p:grpSpPr>
        <p:grpSp>
          <p:nvGrpSpPr>
            <p:cNvPr id="9" name="Gruppieren 8">
              <a:extLst>
                <a:ext uri="{FF2B5EF4-FFF2-40B4-BE49-F238E27FC236}">
                  <a16:creationId xmlns:a16="http://schemas.microsoft.com/office/drawing/2014/main" id="{F3E267AE-397C-406C-B7EE-8A583560DC07}"/>
                </a:ext>
              </a:extLst>
            </p:cNvPr>
            <p:cNvGrpSpPr/>
            <p:nvPr/>
          </p:nvGrpSpPr>
          <p:grpSpPr>
            <a:xfrm>
              <a:off x="9232377" y="4016466"/>
              <a:ext cx="594360" cy="1415683"/>
              <a:chOff x="8395794" y="4016466"/>
              <a:chExt cx="594360" cy="1415683"/>
            </a:xfrm>
          </p:grpSpPr>
          <p:cxnSp>
            <p:nvCxnSpPr>
              <p:cNvPr id="20" name="Straight Connector 32">
                <a:extLst>
                  <a:ext uri="{FF2B5EF4-FFF2-40B4-BE49-F238E27FC236}">
                    <a16:creationId xmlns:a16="http://schemas.microsoft.com/office/drawing/2014/main" id="{A9C9F1BC-C04B-478B-98C4-7060EEBB64D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692690" y="4016466"/>
                <a:ext cx="0" cy="1053678"/>
              </a:xfrm>
              <a:prstGeom prst="line">
                <a:avLst/>
              </a:prstGeom>
              <a:noFill/>
              <a:ln w="38100" cap="flat">
                <a:solidFill>
                  <a:srgbClr val="000000"/>
                </a:solidFill>
                <a:prstDash val="solid"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sp>
            <p:nvSpPr>
              <p:cNvPr id="32" name="Oval 40">
                <a:extLst>
                  <a:ext uri="{FF2B5EF4-FFF2-40B4-BE49-F238E27FC236}">
                    <a16:creationId xmlns:a16="http://schemas.microsoft.com/office/drawing/2014/main" id="{828B5366-5857-4F0E-A406-DB0BD4EA0416}"/>
                  </a:ext>
                </a:extLst>
              </p:cNvPr>
              <p:cNvSpPr/>
              <p:nvPr/>
            </p:nvSpPr>
            <p:spPr>
              <a:xfrm>
                <a:off x="8395794" y="4982920"/>
                <a:ext cx="594360" cy="418366"/>
              </a:xfrm>
              <a:prstGeom prst="ellipse">
                <a:avLst/>
              </a:prstGeom>
              <a:solidFill>
                <a:schemeClr val="bg1"/>
              </a:solidFill>
              <a:ln w="76200" cap="flat">
                <a:solidFill>
                  <a:srgbClr val="35E7C5"/>
                </a:solidFill>
                <a:miter lim="400000"/>
              </a:ln>
              <a:effectLst>
                <a:outerShdw blurRad="38100" dist="25400" dir="5400000" rotWithShape="0">
                  <a:srgbClr val="000000">
                    <a:alpha val="50000"/>
                  </a:srgbClr>
                </a:outerShdw>
              </a:effectLst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25400" tIns="25400" rIns="25400" bIns="25400" numCol="1" spcCol="38100" rtlCol="0" anchor="ctr">
                <a:spAutoFit/>
              </a:bodyPr>
              <a:lstStyle/>
              <a:p>
                <a:endParaRPr lang="de-DE" sz="1600" dirty="0">
                  <a:solidFill>
                    <a:prstClr val="white">
                      <a:lumMod val="95000"/>
                    </a:prst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46" name="Shape">
                <a:extLst>
                  <a:ext uri="{FF2B5EF4-FFF2-40B4-BE49-F238E27FC236}">
                    <a16:creationId xmlns:a16="http://schemas.microsoft.com/office/drawing/2014/main" id="{872868AA-37EB-4832-B90A-F6974E34FA79}"/>
                  </a:ext>
                </a:extLst>
              </p:cNvPr>
              <p:cNvSpPr/>
              <p:nvPr/>
            </p:nvSpPr>
            <p:spPr>
              <a:xfrm>
                <a:off x="8431053" y="5043692"/>
                <a:ext cx="457200" cy="27432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4176" y="0"/>
                    </a:moveTo>
                    <a:cubicBezTo>
                      <a:pt x="10303" y="91"/>
                      <a:pt x="7097" y="4432"/>
                      <a:pt x="6753" y="9859"/>
                    </a:cubicBezTo>
                    <a:cubicBezTo>
                      <a:pt x="6753" y="10088"/>
                      <a:pt x="6753" y="10363"/>
                      <a:pt x="6753" y="10591"/>
                    </a:cubicBezTo>
                    <a:cubicBezTo>
                      <a:pt x="6753" y="10682"/>
                      <a:pt x="6753" y="10778"/>
                      <a:pt x="6753" y="10870"/>
                    </a:cubicBezTo>
                    <a:lnTo>
                      <a:pt x="8094" y="10870"/>
                    </a:lnTo>
                    <a:cubicBezTo>
                      <a:pt x="8094" y="10687"/>
                      <a:pt x="8094" y="10588"/>
                      <a:pt x="8094" y="10452"/>
                    </a:cubicBezTo>
                    <a:cubicBezTo>
                      <a:pt x="8094" y="10269"/>
                      <a:pt x="8094" y="10181"/>
                      <a:pt x="8094" y="9999"/>
                    </a:cubicBezTo>
                    <a:cubicBezTo>
                      <a:pt x="8375" y="5438"/>
                      <a:pt x="11062" y="1881"/>
                      <a:pt x="14248" y="1881"/>
                    </a:cubicBezTo>
                    <a:cubicBezTo>
                      <a:pt x="17559" y="1881"/>
                      <a:pt x="20235" y="5931"/>
                      <a:pt x="20235" y="10765"/>
                    </a:cubicBezTo>
                    <a:cubicBezTo>
                      <a:pt x="20235" y="15691"/>
                      <a:pt x="17550" y="19614"/>
                      <a:pt x="14176" y="19614"/>
                    </a:cubicBezTo>
                    <a:lnTo>
                      <a:pt x="5388" y="19614"/>
                    </a:lnTo>
                    <a:cubicBezTo>
                      <a:pt x="3139" y="19614"/>
                      <a:pt x="1341" y="17010"/>
                      <a:pt x="1341" y="13726"/>
                    </a:cubicBezTo>
                    <a:cubicBezTo>
                      <a:pt x="1341" y="10488"/>
                      <a:pt x="3139" y="7804"/>
                      <a:pt x="5388" y="7804"/>
                    </a:cubicBezTo>
                    <a:lnTo>
                      <a:pt x="5388" y="5853"/>
                    </a:lnTo>
                    <a:cubicBezTo>
                      <a:pt x="2389" y="5853"/>
                      <a:pt x="0" y="9394"/>
                      <a:pt x="0" y="13726"/>
                    </a:cubicBezTo>
                    <a:cubicBezTo>
                      <a:pt x="0" y="18059"/>
                      <a:pt x="2389" y="21600"/>
                      <a:pt x="5388" y="21600"/>
                    </a:cubicBezTo>
                    <a:lnTo>
                      <a:pt x="14176" y="21600"/>
                    </a:lnTo>
                    <a:cubicBezTo>
                      <a:pt x="18300" y="21600"/>
                      <a:pt x="21600" y="16799"/>
                      <a:pt x="21600" y="10870"/>
                    </a:cubicBezTo>
                    <a:cubicBezTo>
                      <a:pt x="21600" y="4941"/>
                      <a:pt x="18357" y="91"/>
                      <a:pt x="14296" y="0"/>
                    </a:cubicBezTo>
                    <a:lnTo>
                      <a:pt x="14176" y="0"/>
                    </a:lnTo>
                    <a:close/>
                    <a:moveTo>
                      <a:pt x="14176" y="4006"/>
                    </a:moveTo>
                    <a:cubicBezTo>
                      <a:pt x="11748" y="4006"/>
                      <a:pt x="9581" y="6752"/>
                      <a:pt x="9363" y="10208"/>
                    </a:cubicBezTo>
                    <a:lnTo>
                      <a:pt x="9363" y="10382"/>
                    </a:lnTo>
                    <a:cubicBezTo>
                      <a:pt x="9363" y="10473"/>
                      <a:pt x="9363" y="10709"/>
                      <a:pt x="9363" y="10800"/>
                    </a:cubicBezTo>
                    <a:lnTo>
                      <a:pt x="10728" y="10800"/>
                    </a:lnTo>
                    <a:cubicBezTo>
                      <a:pt x="10728" y="10618"/>
                      <a:pt x="10728" y="10459"/>
                      <a:pt x="10728" y="10277"/>
                    </a:cubicBezTo>
                    <a:cubicBezTo>
                      <a:pt x="10915" y="7913"/>
                      <a:pt x="12433" y="5957"/>
                      <a:pt x="14176" y="5957"/>
                    </a:cubicBezTo>
                    <a:lnTo>
                      <a:pt x="14176" y="4006"/>
                    </a:lnTo>
                    <a:close/>
                  </a:path>
                </a:pathLst>
              </a:custGeom>
              <a:solidFill>
                <a:srgbClr val="555556"/>
              </a:solidFill>
              <a:ln w="12700">
                <a:miter lim="400000"/>
              </a:ln>
            </p:spPr>
            <p:txBody>
              <a:bodyPr lIns="45719" rIns="45719" anchor="ctr"/>
              <a:lstStyle>
                <a:defPPr marL="0" marR="0" indent="0" algn="l" defTabSz="914400" rtl="0" fontAlgn="auto" latinLnBrk="1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800" b="0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</a:defRPr>
                </a:defPPr>
                <a:lvl1pPr marL="0" marR="0" indent="0" algn="ctr" defTabSz="8255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5000" b="0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  <a:latin typeface="Helvetica Light"/>
                    <a:ea typeface="Helvetica Light"/>
                    <a:cs typeface="Helvetica Light"/>
                    <a:sym typeface="Helvetica Light"/>
                  </a:defRPr>
                </a:lvl1pPr>
                <a:lvl2pPr marL="0" marR="0" indent="228600" algn="ctr" defTabSz="8255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5000" b="0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  <a:latin typeface="Helvetica Light"/>
                    <a:ea typeface="Helvetica Light"/>
                    <a:cs typeface="Helvetica Light"/>
                    <a:sym typeface="Helvetica Light"/>
                  </a:defRPr>
                </a:lvl2pPr>
                <a:lvl3pPr marL="0" marR="0" indent="457200" algn="ctr" defTabSz="8255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5000" b="0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  <a:latin typeface="Helvetica Light"/>
                    <a:ea typeface="Helvetica Light"/>
                    <a:cs typeface="Helvetica Light"/>
                    <a:sym typeface="Helvetica Light"/>
                  </a:defRPr>
                </a:lvl3pPr>
                <a:lvl4pPr marL="0" marR="0" indent="685800" algn="ctr" defTabSz="8255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5000" b="0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  <a:latin typeface="Helvetica Light"/>
                    <a:ea typeface="Helvetica Light"/>
                    <a:cs typeface="Helvetica Light"/>
                    <a:sym typeface="Helvetica Light"/>
                  </a:defRPr>
                </a:lvl4pPr>
                <a:lvl5pPr marL="0" marR="0" indent="914400" algn="ctr" defTabSz="8255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5000" b="0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  <a:latin typeface="Helvetica Light"/>
                    <a:ea typeface="Helvetica Light"/>
                    <a:cs typeface="Helvetica Light"/>
                    <a:sym typeface="Helvetica Light"/>
                  </a:defRPr>
                </a:lvl5pPr>
                <a:lvl6pPr marL="0" marR="0" indent="1143000" algn="ctr" defTabSz="8255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5000" b="0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  <a:latin typeface="Helvetica Light"/>
                    <a:ea typeface="Helvetica Light"/>
                    <a:cs typeface="Helvetica Light"/>
                    <a:sym typeface="Helvetica Light"/>
                  </a:defRPr>
                </a:lvl6pPr>
                <a:lvl7pPr marL="0" marR="0" indent="1371600" algn="ctr" defTabSz="8255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5000" b="0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  <a:latin typeface="Helvetica Light"/>
                    <a:ea typeface="Helvetica Light"/>
                    <a:cs typeface="Helvetica Light"/>
                    <a:sym typeface="Helvetica Light"/>
                  </a:defRPr>
                </a:lvl7pPr>
                <a:lvl8pPr marL="0" marR="0" indent="1600200" algn="ctr" defTabSz="8255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5000" b="0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  <a:latin typeface="Helvetica Light"/>
                    <a:ea typeface="Helvetica Light"/>
                    <a:cs typeface="Helvetica Light"/>
                    <a:sym typeface="Helvetica Light"/>
                  </a:defRPr>
                </a:lvl8pPr>
                <a:lvl9pPr marL="0" marR="0" indent="1828800" algn="ctr" defTabSz="8255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5000" b="0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  <a:latin typeface="Helvetica Light"/>
                    <a:ea typeface="Helvetica Light"/>
                    <a:cs typeface="Helvetica Light"/>
                    <a:sym typeface="Helvetica Light"/>
                  </a:defRPr>
                </a:lvl9pPr>
              </a:lstStyle>
              <a:p>
                <a:pPr algn="l" defTabSz="457200">
                  <a:lnSpc>
                    <a:spcPct val="93000"/>
                  </a:lnSpc>
                  <a:defRPr sz="1800">
                    <a:latin typeface="Open Sans"/>
                    <a:ea typeface="Open Sans"/>
                    <a:cs typeface="Open Sans"/>
                    <a:sym typeface="Open Sans"/>
                  </a:defRPr>
                </a:pPr>
                <a:endParaRPr lang="de-DE" sz="1800" dirty="0">
                  <a:latin typeface="Segoe UI Light" panose="020B0502040204020203" pitchFamily="34" charset="0"/>
                  <a:cs typeface="Segoe UI Light" panose="020B0502040204020203" pitchFamily="34" charset="0"/>
                  <a:sym typeface="Open Sans"/>
                </a:endParaRPr>
              </a:p>
            </p:txBody>
          </p:sp>
          <p:cxnSp>
            <p:nvCxnSpPr>
              <p:cNvPr id="47" name="Straight Connector 77">
                <a:extLst>
                  <a:ext uri="{FF2B5EF4-FFF2-40B4-BE49-F238E27FC236}">
                    <a16:creationId xmlns:a16="http://schemas.microsoft.com/office/drawing/2014/main" id="{DB3D46FA-9930-4FE5-80B2-7021EE6A5F7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473704" y="5000722"/>
                <a:ext cx="438540" cy="431427"/>
              </a:xfrm>
              <a:prstGeom prst="line">
                <a:avLst/>
              </a:prstGeom>
              <a:ln w="28575">
                <a:solidFill>
                  <a:schemeClr val="bg2">
                    <a:lumMod val="25000"/>
                  </a:schemeClr>
                </a:solidFill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sp>
          <p:nvSpPr>
            <p:cNvPr id="50" name="TextBox 80">
              <a:extLst>
                <a:ext uri="{FF2B5EF4-FFF2-40B4-BE49-F238E27FC236}">
                  <a16:creationId xmlns:a16="http://schemas.microsoft.com/office/drawing/2014/main" id="{AD6FE47B-788C-4C57-BDC9-81AD7E22BC5F}"/>
                </a:ext>
              </a:extLst>
            </p:cNvPr>
            <p:cNvSpPr txBox="1"/>
            <p:nvPr/>
          </p:nvSpPr>
          <p:spPr>
            <a:xfrm>
              <a:off x="9964172" y="5304052"/>
              <a:ext cx="1791447" cy="89768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5400" tIns="25400" rIns="25400" bIns="25400" numCol="1" spcCol="38100" rtlCol="0" anchor="ctr">
              <a:spAutoFit/>
            </a:bodyPr>
            <a:lstStyle/>
            <a:p>
              <a:pPr algn="l"/>
              <a:r>
                <a:rPr lang="de-DE" sz="1100" b="1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2. Mai </a:t>
              </a:r>
            </a:p>
            <a:p>
              <a:pPr algn="l"/>
              <a:r>
                <a:rPr lang="de-DE" sz="11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Zugriff auf SharePoint und OneDrive war stundenlang nicht möglich.  </a:t>
              </a:r>
              <a:br>
                <a:rPr lang="de-DE" sz="1100" dirty="0"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lang="de-DE" sz="1100" dirty="0">
                  <a:latin typeface="Segoe UI Light" panose="020B0502040204020203" pitchFamily="34" charset="0"/>
                  <a:cs typeface="Segoe UI Light" panose="020B0502040204020203" pitchFamily="34" charset="0"/>
                  <a:hlinkClick r:id="rId11"/>
                </a:rPr>
                <a:t>Analyse der Störung</a:t>
              </a:r>
              <a:r>
                <a:rPr lang="de-DE" sz="11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.</a:t>
              </a:r>
            </a:p>
          </p:txBody>
        </p:sp>
        <p:sp>
          <p:nvSpPr>
            <p:cNvPr id="55" name="TextBox 85">
              <a:extLst>
                <a:ext uri="{FF2B5EF4-FFF2-40B4-BE49-F238E27FC236}">
                  <a16:creationId xmlns:a16="http://schemas.microsoft.com/office/drawing/2014/main" id="{E1803EAA-F17E-430A-BFF7-D55AFAF73B48}"/>
                </a:ext>
              </a:extLst>
            </p:cNvPr>
            <p:cNvSpPr txBox="1"/>
            <p:nvPr/>
          </p:nvSpPr>
          <p:spPr>
            <a:xfrm>
              <a:off x="9964172" y="4991164"/>
              <a:ext cx="1704404" cy="29751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5400" tIns="25400" rIns="25400" bIns="25400" numCol="1" spcCol="38100" rtlCol="0" anchor="ctr">
              <a:spAutoFit/>
            </a:bodyPr>
            <a:lstStyle/>
            <a:p>
              <a:pPr algn="l"/>
              <a:r>
                <a:rPr lang="de-DE" sz="1600" b="1" dirty="0">
                  <a:solidFill>
                    <a:prstClr val="black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SharePoint Störung</a:t>
              </a:r>
            </a:p>
          </p:txBody>
        </p:sp>
      </p:grpSp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9D7C7ECC-FF3E-4634-86AF-17D46D4C21B6}"/>
              </a:ext>
            </a:extLst>
          </p:cNvPr>
          <p:cNvGrpSpPr/>
          <p:nvPr/>
        </p:nvGrpSpPr>
        <p:grpSpPr>
          <a:xfrm>
            <a:off x="6504785" y="3985603"/>
            <a:ext cx="2526527" cy="2237744"/>
            <a:chOff x="6504785" y="3985603"/>
            <a:chExt cx="2526527" cy="2237744"/>
          </a:xfrm>
        </p:grpSpPr>
        <p:sp>
          <p:nvSpPr>
            <p:cNvPr id="60" name="TextBox 49">
              <a:extLst>
                <a:ext uri="{FF2B5EF4-FFF2-40B4-BE49-F238E27FC236}">
                  <a16:creationId xmlns:a16="http://schemas.microsoft.com/office/drawing/2014/main" id="{060A644C-0CC7-4799-A77E-44931862FF9A}"/>
                </a:ext>
              </a:extLst>
            </p:cNvPr>
            <p:cNvSpPr txBox="1"/>
            <p:nvPr/>
          </p:nvSpPr>
          <p:spPr>
            <a:xfrm>
              <a:off x="7239865" y="5325665"/>
              <a:ext cx="1791447" cy="89768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5400" tIns="25400" rIns="25400" bIns="25400" numCol="1" spcCol="38100" rtlCol="0" anchor="ctr">
              <a:spAutoFit/>
            </a:bodyPr>
            <a:lstStyle/>
            <a:p>
              <a:pPr algn="l"/>
              <a:r>
                <a:rPr lang="de-DE" sz="1100" b="1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16. Januar 2019</a:t>
              </a:r>
            </a:p>
            <a:p>
              <a:pPr algn="l"/>
              <a:r>
                <a:rPr lang="de-DE" sz="11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Anwender konnten weder den Microsoft Teams Desktop Client noch den Web Client nutzen</a:t>
              </a:r>
            </a:p>
          </p:txBody>
        </p:sp>
        <p:sp>
          <p:nvSpPr>
            <p:cNvPr id="61" name="TextBox 50">
              <a:extLst>
                <a:ext uri="{FF2B5EF4-FFF2-40B4-BE49-F238E27FC236}">
                  <a16:creationId xmlns:a16="http://schemas.microsoft.com/office/drawing/2014/main" id="{DBAC3D47-63E1-42CB-9A3C-9F7CC264BDAB}"/>
                </a:ext>
              </a:extLst>
            </p:cNvPr>
            <p:cNvSpPr txBox="1"/>
            <p:nvPr/>
          </p:nvSpPr>
          <p:spPr>
            <a:xfrm>
              <a:off x="7221550" y="4997856"/>
              <a:ext cx="1528003" cy="29751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5400" tIns="25400" rIns="25400" bIns="25400" numCol="1" spcCol="38100" rtlCol="0" anchor="ctr">
              <a:spAutoFit/>
            </a:bodyPr>
            <a:lstStyle/>
            <a:p>
              <a:pPr algn="l"/>
              <a:r>
                <a:rPr lang="de-DE" sz="1600" b="1" dirty="0">
                  <a:solidFill>
                    <a:prstClr val="black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Teams Störung</a:t>
              </a:r>
            </a:p>
          </p:txBody>
        </p:sp>
        <p:grpSp>
          <p:nvGrpSpPr>
            <p:cNvPr id="62" name="Gruppieren 61">
              <a:extLst>
                <a:ext uri="{FF2B5EF4-FFF2-40B4-BE49-F238E27FC236}">
                  <a16:creationId xmlns:a16="http://schemas.microsoft.com/office/drawing/2014/main" id="{E0750D8C-5E4C-4D11-B5A1-5268D0D1833A}"/>
                </a:ext>
              </a:extLst>
            </p:cNvPr>
            <p:cNvGrpSpPr/>
            <p:nvPr/>
          </p:nvGrpSpPr>
          <p:grpSpPr>
            <a:xfrm>
              <a:off x="6504785" y="3985603"/>
              <a:ext cx="594360" cy="1415683"/>
              <a:chOff x="8395794" y="4016466"/>
              <a:chExt cx="594360" cy="1415683"/>
            </a:xfrm>
          </p:grpSpPr>
          <p:cxnSp>
            <p:nvCxnSpPr>
              <p:cNvPr id="63" name="Straight Connector 32">
                <a:extLst>
                  <a:ext uri="{FF2B5EF4-FFF2-40B4-BE49-F238E27FC236}">
                    <a16:creationId xmlns:a16="http://schemas.microsoft.com/office/drawing/2014/main" id="{7732D7FC-9B07-443A-AF1E-DF6D5C9DDC4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692690" y="4016466"/>
                <a:ext cx="0" cy="1053678"/>
              </a:xfrm>
              <a:prstGeom prst="line">
                <a:avLst/>
              </a:prstGeom>
              <a:noFill/>
              <a:ln w="38100" cap="flat">
                <a:solidFill>
                  <a:srgbClr val="000000"/>
                </a:solidFill>
                <a:prstDash val="solid"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sp>
            <p:nvSpPr>
              <p:cNvPr id="64" name="Oval 40">
                <a:extLst>
                  <a:ext uri="{FF2B5EF4-FFF2-40B4-BE49-F238E27FC236}">
                    <a16:creationId xmlns:a16="http://schemas.microsoft.com/office/drawing/2014/main" id="{D06D8748-9574-4EF0-9AFD-17D6AB8B50AF}"/>
                  </a:ext>
                </a:extLst>
              </p:cNvPr>
              <p:cNvSpPr/>
              <p:nvPr/>
            </p:nvSpPr>
            <p:spPr>
              <a:xfrm>
                <a:off x="8395794" y="4982920"/>
                <a:ext cx="594360" cy="418366"/>
              </a:xfrm>
              <a:prstGeom prst="ellipse">
                <a:avLst/>
              </a:prstGeom>
              <a:solidFill>
                <a:schemeClr val="bg1"/>
              </a:solidFill>
              <a:ln w="76200" cap="flat">
                <a:solidFill>
                  <a:srgbClr val="35E7C5"/>
                </a:solidFill>
                <a:miter lim="400000"/>
              </a:ln>
              <a:effectLst>
                <a:outerShdw blurRad="38100" dist="25400" dir="5400000" rotWithShape="0">
                  <a:srgbClr val="000000">
                    <a:alpha val="50000"/>
                  </a:srgbClr>
                </a:outerShdw>
              </a:effectLst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25400" tIns="25400" rIns="25400" bIns="25400" numCol="1" spcCol="38100" rtlCol="0" anchor="ctr">
                <a:spAutoFit/>
              </a:bodyPr>
              <a:lstStyle/>
              <a:p>
                <a:endParaRPr lang="de-DE" sz="1600" dirty="0">
                  <a:solidFill>
                    <a:prstClr val="white">
                      <a:lumMod val="95000"/>
                    </a:prst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65" name="Shape">
                <a:extLst>
                  <a:ext uri="{FF2B5EF4-FFF2-40B4-BE49-F238E27FC236}">
                    <a16:creationId xmlns:a16="http://schemas.microsoft.com/office/drawing/2014/main" id="{E2DBE3C4-1C0D-4F35-9E6D-FC9F718BFF78}"/>
                  </a:ext>
                </a:extLst>
              </p:cNvPr>
              <p:cNvSpPr/>
              <p:nvPr/>
            </p:nvSpPr>
            <p:spPr>
              <a:xfrm>
                <a:off x="8431053" y="5043692"/>
                <a:ext cx="457200" cy="27432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4176" y="0"/>
                    </a:moveTo>
                    <a:cubicBezTo>
                      <a:pt x="10303" y="91"/>
                      <a:pt x="7097" y="4432"/>
                      <a:pt x="6753" y="9859"/>
                    </a:cubicBezTo>
                    <a:cubicBezTo>
                      <a:pt x="6753" y="10088"/>
                      <a:pt x="6753" y="10363"/>
                      <a:pt x="6753" y="10591"/>
                    </a:cubicBezTo>
                    <a:cubicBezTo>
                      <a:pt x="6753" y="10682"/>
                      <a:pt x="6753" y="10778"/>
                      <a:pt x="6753" y="10870"/>
                    </a:cubicBezTo>
                    <a:lnTo>
                      <a:pt x="8094" y="10870"/>
                    </a:lnTo>
                    <a:cubicBezTo>
                      <a:pt x="8094" y="10687"/>
                      <a:pt x="8094" y="10588"/>
                      <a:pt x="8094" y="10452"/>
                    </a:cubicBezTo>
                    <a:cubicBezTo>
                      <a:pt x="8094" y="10269"/>
                      <a:pt x="8094" y="10181"/>
                      <a:pt x="8094" y="9999"/>
                    </a:cubicBezTo>
                    <a:cubicBezTo>
                      <a:pt x="8375" y="5438"/>
                      <a:pt x="11062" y="1881"/>
                      <a:pt x="14248" y="1881"/>
                    </a:cubicBezTo>
                    <a:cubicBezTo>
                      <a:pt x="17559" y="1881"/>
                      <a:pt x="20235" y="5931"/>
                      <a:pt x="20235" y="10765"/>
                    </a:cubicBezTo>
                    <a:cubicBezTo>
                      <a:pt x="20235" y="15691"/>
                      <a:pt x="17550" y="19614"/>
                      <a:pt x="14176" y="19614"/>
                    </a:cubicBezTo>
                    <a:lnTo>
                      <a:pt x="5388" y="19614"/>
                    </a:lnTo>
                    <a:cubicBezTo>
                      <a:pt x="3139" y="19614"/>
                      <a:pt x="1341" y="17010"/>
                      <a:pt x="1341" y="13726"/>
                    </a:cubicBezTo>
                    <a:cubicBezTo>
                      <a:pt x="1341" y="10488"/>
                      <a:pt x="3139" y="7804"/>
                      <a:pt x="5388" y="7804"/>
                    </a:cubicBezTo>
                    <a:lnTo>
                      <a:pt x="5388" y="5853"/>
                    </a:lnTo>
                    <a:cubicBezTo>
                      <a:pt x="2389" y="5853"/>
                      <a:pt x="0" y="9394"/>
                      <a:pt x="0" y="13726"/>
                    </a:cubicBezTo>
                    <a:cubicBezTo>
                      <a:pt x="0" y="18059"/>
                      <a:pt x="2389" y="21600"/>
                      <a:pt x="5388" y="21600"/>
                    </a:cubicBezTo>
                    <a:lnTo>
                      <a:pt x="14176" y="21600"/>
                    </a:lnTo>
                    <a:cubicBezTo>
                      <a:pt x="18300" y="21600"/>
                      <a:pt x="21600" y="16799"/>
                      <a:pt x="21600" y="10870"/>
                    </a:cubicBezTo>
                    <a:cubicBezTo>
                      <a:pt x="21600" y="4941"/>
                      <a:pt x="18357" y="91"/>
                      <a:pt x="14296" y="0"/>
                    </a:cubicBezTo>
                    <a:lnTo>
                      <a:pt x="14176" y="0"/>
                    </a:lnTo>
                    <a:close/>
                    <a:moveTo>
                      <a:pt x="14176" y="4006"/>
                    </a:moveTo>
                    <a:cubicBezTo>
                      <a:pt x="11748" y="4006"/>
                      <a:pt x="9581" y="6752"/>
                      <a:pt x="9363" y="10208"/>
                    </a:cubicBezTo>
                    <a:lnTo>
                      <a:pt x="9363" y="10382"/>
                    </a:lnTo>
                    <a:cubicBezTo>
                      <a:pt x="9363" y="10473"/>
                      <a:pt x="9363" y="10709"/>
                      <a:pt x="9363" y="10800"/>
                    </a:cubicBezTo>
                    <a:lnTo>
                      <a:pt x="10728" y="10800"/>
                    </a:lnTo>
                    <a:cubicBezTo>
                      <a:pt x="10728" y="10618"/>
                      <a:pt x="10728" y="10459"/>
                      <a:pt x="10728" y="10277"/>
                    </a:cubicBezTo>
                    <a:cubicBezTo>
                      <a:pt x="10915" y="7913"/>
                      <a:pt x="12433" y="5957"/>
                      <a:pt x="14176" y="5957"/>
                    </a:cubicBezTo>
                    <a:lnTo>
                      <a:pt x="14176" y="4006"/>
                    </a:lnTo>
                    <a:close/>
                  </a:path>
                </a:pathLst>
              </a:custGeom>
              <a:solidFill>
                <a:srgbClr val="555556"/>
              </a:solidFill>
              <a:ln w="12700">
                <a:miter lim="400000"/>
              </a:ln>
            </p:spPr>
            <p:txBody>
              <a:bodyPr lIns="45719" rIns="45719" anchor="ctr"/>
              <a:lstStyle>
                <a:defPPr marL="0" marR="0" indent="0" algn="l" defTabSz="914400" rtl="0" fontAlgn="auto" latinLnBrk="1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800" b="0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</a:defRPr>
                </a:defPPr>
                <a:lvl1pPr marL="0" marR="0" indent="0" algn="ctr" defTabSz="8255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5000" b="0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  <a:latin typeface="Helvetica Light"/>
                    <a:ea typeface="Helvetica Light"/>
                    <a:cs typeface="Helvetica Light"/>
                    <a:sym typeface="Helvetica Light"/>
                  </a:defRPr>
                </a:lvl1pPr>
                <a:lvl2pPr marL="0" marR="0" indent="228600" algn="ctr" defTabSz="8255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5000" b="0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  <a:latin typeface="Helvetica Light"/>
                    <a:ea typeface="Helvetica Light"/>
                    <a:cs typeface="Helvetica Light"/>
                    <a:sym typeface="Helvetica Light"/>
                  </a:defRPr>
                </a:lvl2pPr>
                <a:lvl3pPr marL="0" marR="0" indent="457200" algn="ctr" defTabSz="8255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5000" b="0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  <a:latin typeface="Helvetica Light"/>
                    <a:ea typeface="Helvetica Light"/>
                    <a:cs typeface="Helvetica Light"/>
                    <a:sym typeface="Helvetica Light"/>
                  </a:defRPr>
                </a:lvl3pPr>
                <a:lvl4pPr marL="0" marR="0" indent="685800" algn="ctr" defTabSz="8255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5000" b="0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  <a:latin typeface="Helvetica Light"/>
                    <a:ea typeface="Helvetica Light"/>
                    <a:cs typeface="Helvetica Light"/>
                    <a:sym typeface="Helvetica Light"/>
                  </a:defRPr>
                </a:lvl4pPr>
                <a:lvl5pPr marL="0" marR="0" indent="914400" algn="ctr" defTabSz="8255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5000" b="0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  <a:latin typeface="Helvetica Light"/>
                    <a:ea typeface="Helvetica Light"/>
                    <a:cs typeface="Helvetica Light"/>
                    <a:sym typeface="Helvetica Light"/>
                  </a:defRPr>
                </a:lvl5pPr>
                <a:lvl6pPr marL="0" marR="0" indent="1143000" algn="ctr" defTabSz="8255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5000" b="0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  <a:latin typeface="Helvetica Light"/>
                    <a:ea typeface="Helvetica Light"/>
                    <a:cs typeface="Helvetica Light"/>
                    <a:sym typeface="Helvetica Light"/>
                  </a:defRPr>
                </a:lvl6pPr>
                <a:lvl7pPr marL="0" marR="0" indent="1371600" algn="ctr" defTabSz="8255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5000" b="0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  <a:latin typeface="Helvetica Light"/>
                    <a:ea typeface="Helvetica Light"/>
                    <a:cs typeface="Helvetica Light"/>
                    <a:sym typeface="Helvetica Light"/>
                  </a:defRPr>
                </a:lvl7pPr>
                <a:lvl8pPr marL="0" marR="0" indent="1600200" algn="ctr" defTabSz="8255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5000" b="0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  <a:latin typeface="Helvetica Light"/>
                    <a:ea typeface="Helvetica Light"/>
                    <a:cs typeface="Helvetica Light"/>
                    <a:sym typeface="Helvetica Light"/>
                  </a:defRPr>
                </a:lvl8pPr>
                <a:lvl9pPr marL="0" marR="0" indent="1828800" algn="ctr" defTabSz="8255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5000" b="0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  <a:latin typeface="Helvetica Light"/>
                    <a:ea typeface="Helvetica Light"/>
                    <a:cs typeface="Helvetica Light"/>
                    <a:sym typeface="Helvetica Light"/>
                  </a:defRPr>
                </a:lvl9pPr>
              </a:lstStyle>
              <a:p>
                <a:pPr algn="l" defTabSz="457200">
                  <a:lnSpc>
                    <a:spcPct val="93000"/>
                  </a:lnSpc>
                  <a:defRPr sz="1800">
                    <a:latin typeface="Open Sans"/>
                    <a:ea typeface="Open Sans"/>
                    <a:cs typeface="Open Sans"/>
                    <a:sym typeface="Open Sans"/>
                  </a:defRPr>
                </a:pPr>
                <a:endParaRPr lang="de-DE" sz="1800" dirty="0">
                  <a:latin typeface="Segoe UI Light" panose="020B0502040204020203" pitchFamily="34" charset="0"/>
                  <a:cs typeface="Segoe UI Light" panose="020B0502040204020203" pitchFamily="34" charset="0"/>
                  <a:sym typeface="Open Sans"/>
                </a:endParaRPr>
              </a:p>
            </p:txBody>
          </p:sp>
          <p:cxnSp>
            <p:nvCxnSpPr>
              <p:cNvPr id="66" name="Straight Connector 77">
                <a:extLst>
                  <a:ext uri="{FF2B5EF4-FFF2-40B4-BE49-F238E27FC236}">
                    <a16:creationId xmlns:a16="http://schemas.microsoft.com/office/drawing/2014/main" id="{8E931133-14C2-4CD9-9914-BDD474D80B5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473704" y="5000722"/>
                <a:ext cx="438540" cy="431427"/>
              </a:xfrm>
              <a:prstGeom prst="line">
                <a:avLst/>
              </a:prstGeom>
              <a:ln w="28575">
                <a:solidFill>
                  <a:schemeClr val="bg2">
                    <a:lumMod val="25000"/>
                  </a:schemeClr>
                </a:solidFill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  <p:sp>
        <p:nvSpPr>
          <p:cNvPr id="23" name="object 17">
            <a:extLst>
              <a:ext uri="{FF2B5EF4-FFF2-40B4-BE49-F238E27FC236}">
                <a16:creationId xmlns:a16="http://schemas.microsoft.com/office/drawing/2014/main" id="{678F6878-51E7-465B-BEA9-A309482958CB}"/>
              </a:ext>
            </a:extLst>
          </p:cNvPr>
          <p:cNvSpPr/>
          <p:nvPr/>
        </p:nvSpPr>
        <p:spPr>
          <a:xfrm>
            <a:off x="6142409" y="3132750"/>
            <a:ext cx="5431260" cy="821231"/>
          </a:xfrm>
          <a:custGeom>
            <a:avLst/>
            <a:gdLst/>
            <a:ahLst/>
            <a:cxnLst/>
            <a:rect l="l" t="t" r="r" b="b"/>
            <a:pathLst>
              <a:path w="3154679" h="749935">
                <a:moveTo>
                  <a:pt x="2779776" y="0"/>
                </a:moveTo>
                <a:lnTo>
                  <a:pt x="0" y="0"/>
                </a:lnTo>
                <a:lnTo>
                  <a:pt x="374903" y="374904"/>
                </a:lnTo>
                <a:lnTo>
                  <a:pt x="0" y="749808"/>
                </a:lnTo>
                <a:lnTo>
                  <a:pt x="2779776" y="749808"/>
                </a:lnTo>
                <a:lnTo>
                  <a:pt x="3154680" y="374904"/>
                </a:lnTo>
                <a:lnTo>
                  <a:pt x="2779776" y="0"/>
                </a:lnTo>
                <a:close/>
              </a:path>
            </a:pathLst>
          </a:custGeom>
          <a:noFill/>
          <a:ln w="136525">
            <a:solidFill>
              <a:srgbClr val="35E7C5"/>
            </a:solidFill>
          </a:ln>
        </p:spPr>
        <p:txBody>
          <a:bodyPr wrap="square" lIns="0" tIns="0" rIns="0" bIns="0" rtlCol="0"/>
          <a:lstStyle/>
          <a:p>
            <a:endParaRPr lang="de-DE" sz="2000" dirty="0">
              <a:solidFill>
                <a:prstClr val="black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algn="ctr"/>
            <a:r>
              <a:rPr lang="de-DE" sz="2000" b="1" dirty="0">
                <a:solidFill>
                  <a:prstClr val="black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2019</a:t>
            </a: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13602BC6-8D51-483C-9791-63A362FCE7C9}"/>
              </a:ext>
            </a:extLst>
          </p:cNvPr>
          <p:cNvGrpSpPr/>
          <p:nvPr/>
        </p:nvGrpSpPr>
        <p:grpSpPr>
          <a:xfrm>
            <a:off x="4734913" y="1561076"/>
            <a:ext cx="2522512" cy="1727449"/>
            <a:chOff x="4734913" y="1561076"/>
            <a:chExt cx="2522512" cy="1727449"/>
          </a:xfrm>
        </p:grpSpPr>
        <p:sp>
          <p:nvSpPr>
            <p:cNvPr id="48" name="TextBox 78">
              <a:extLst>
                <a:ext uri="{FF2B5EF4-FFF2-40B4-BE49-F238E27FC236}">
                  <a16:creationId xmlns:a16="http://schemas.microsoft.com/office/drawing/2014/main" id="{08BBD35C-3E05-4E9C-B543-14C9A82682CB}"/>
                </a:ext>
              </a:extLst>
            </p:cNvPr>
            <p:cNvSpPr txBox="1"/>
            <p:nvPr/>
          </p:nvSpPr>
          <p:spPr>
            <a:xfrm>
              <a:off x="5615842" y="1904261"/>
              <a:ext cx="1641583" cy="55912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5400" tIns="25400" rIns="25400" bIns="25400" numCol="1" spcCol="38100" rtlCol="0" anchor="ctr">
              <a:spAutoFit/>
            </a:bodyPr>
            <a:lstStyle/>
            <a:p>
              <a:pPr algn="l"/>
              <a:r>
                <a:rPr lang="de-DE" sz="1100" b="1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5. Dezember 2018</a:t>
              </a:r>
            </a:p>
            <a:p>
              <a:pPr algn="l"/>
              <a:r>
                <a:rPr lang="de-DE" sz="11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Europäische Anwender betroffen</a:t>
              </a:r>
            </a:p>
          </p:txBody>
        </p:sp>
        <p:sp>
          <p:nvSpPr>
            <p:cNvPr id="49" name="TextBox 79">
              <a:extLst>
                <a:ext uri="{FF2B5EF4-FFF2-40B4-BE49-F238E27FC236}">
                  <a16:creationId xmlns:a16="http://schemas.microsoft.com/office/drawing/2014/main" id="{85B3AF19-4859-4200-B0D9-453A829007CB}"/>
                </a:ext>
              </a:extLst>
            </p:cNvPr>
            <p:cNvSpPr txBox="1"/>
            <p:nvPr/>
          </p:nvSpPr>
          <p:spPr>
            <a:xfrm>
              <a:off x="5617418" y="1606744"/>
              <a:ext cx="1640007" cy="29751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5400" tIns="25400" rIns="25400" bIns="25400" numCol="1" spcCol="38100" rtlCol="0" anchor="ctr">
              <a:spAutoFit/>
            </a:bodyPr>
            <a:lstStyle/>
            <a:p>
              <a:pPr algn="l"/>
              <a:r>
                <a:rPr lang="de-DE" sz="1600" b="1" dirty="0">
                  <a:solidFill>
                    <a:prstClr val="black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Teams Störung</a:t>
              </a:r>
            </a:p>
          </p:txBody>
        </p:sp>
        <p:grpSp>
          <p:nvGrpSpPr>
            <p:cNvPr id="67" name="Gruppieren 66">
              <a:extLst>
                <a:ext uri="{FF2B5EF4-FFF2-40B4-BE49-F238E27FC236}">
                  <a16:creationId xmlns:a16="http://schemas.microsoft.com/office/drawing/2014/main" id="{14F30C5A-0DE3-4F0E-A2DB-A0B47C8DE898}"/>
                </a:ext>
              </a:extLst>
            </p:cNvPr>
            <p:cNvGrpSpPr/>
            <p:nvPr/>
          </p:nvGrpSpPr>
          <p:grpSpPr>
            <a:xfrm>
              <a:off x="4734913" y="1561076"/>
              <a:ext cx="594360" cy="1727449"/>
              <a:chOff x="935623" y="1553218"/>
              <a:chExt cx="594360" cy="1727449"/>
            </a:xfrm>
          </p:grpSpPr>
          <p:cxnSp>
            <p:nvCxnSpPr>
              <p:cNvPr id="68" name="Straight Connector 43">
                <a:extLst>
                  <a:ext uri="{FF2B5EF4-FFF2-40B4-BE49-F238E27FC236}">
                    <a16:creationId xmlns:a16="http://schemas.microsoft.com/office/drawing/2014/main" id="{A2F15878-6848-4156-8326-87C3359FBC7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225290" y="1985972"/>
                <a:ext cx="0" cy="1294695"/>
              </a:xfrm>
              <a:prstGeom prst="line">
                <a:avLst/>
              </a:prstGeom>
              <a:noFill/>
              <a:ln w="38100" cap="flat">
                <a:solidFill>
                  <a:srgbClr val="000000"/>
                </a:solidFill>
                <a:prstDash val="solid"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sp>
            <p:nvSpPr>
              <p:cNvPr id="69" name="Oval 58">
                <a:extLst>
                  <a:ext uri="{FF2B5EF4-FFF2-40B4-BE49-F238E27FC236}">
                    <a16:creationId xmlns:a16="http://schemas.microsoft.com/office/drawing/2014/main" id="{1605CDCA-9636-40BC-9A51-4EE72E31C416}"/>
                  </a:ext>
                </a:extLst>
              </p:cNvPr>
              <p:cNvSpPr/>
              <p:nvPr/>
            </p:nvSpPr>
            <p:spPr>
              <a:xfrm>
                <a:off x="935623" y="1553218"/>
                <a:ext cx="594360" cy="418366"/>
              </a:xfrm>
              <a:prstGeom prst="ellipse">
                <a:avLst/>
              </a:prstGeom>
              <a:solidFill>
                <a:schemeClr val="bg1"/>
              </a:solidFill>
              <a:ln w="76200" cap="flat">
                <a:solidFill>
                  <a:srgbClr val="533F6F"/>
                </a:solidFill>
                <a:miter lim="400000"/>
              </a:ln>
              <a:effectLst>
                <a:outerShdw blurRad="38100" dist="25400" dir="5400000" rotWithShape="0">
                  <a:srgbClr val="000000">
                    <a:alpha val="50000"/>
                  </a:srgbClr>
                </a:outerShdw>
              </a:effectLst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25400" tIns="25400" rIns="25400" bIns="25400" numCol="1" spcCol="38100" rtlCol="0" anchor="ctr">
                <a:spAutoFit/>
              </a:bodyPr>
              <a:lstStyle/>
              <a:p>
                <a:endParaRPr lang="de-DE" sz="1600" dirty="0">
                  <a:solidFill>
                    <a:prstClr val="white">
                      <a:lumMod val="95000"/>
                    </a:prst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70" name="Shape">
                <a:extLst>
                  <a:ext uri="{FF2B5EF4-FFF2-40B4-BE49-F238E27FC236}">
                    <a16:creationId xmlns:a16="http://schemas.microsoft.com/office/drawing/2014/main" id="{12F70C67-6B51-4E7D-A22D-B869917B286F}"/>
                  </a:ext>
                </a:extLst>
              </p:cNvPr>
              <p:cNvSpPr/>
              <p:nvPr/>
            </p:nvSpPr>
            <p:spPr>
              <a:xfrm>
                <a:off x="1006020" y="1639629"/>
                <a:ext cx="457200" cy="27432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4176" y="0"/>
                    </a:moveTo>
                    <a:cubicBezTo>
                      <a:pt x="10303" y="91"/>
                      <a:pt x="7097" y="4432"/>
                      <a:pt x="6753" y="9859"/>
                    </a:cubicBezTo>
                    <a:cubicBezTo>
                      <a:pt x="6753" y="10088"/>
                      <a:pt x="6753" y="10363"/>
                      <a:pt x="6753" y="10591"/>
                    </a:cubicBezTo>
                    <a:cubicBezTo>
                      <a:pt x="6753" y="10682"/>
                      <a:pt x="6753" y="10778"/>
                      <a:pt x="6753" y="10870"/>
                    </a:cubicBezTo>
                    <a:lnTo>
                      <a:pt x="8094" y="10870"/>
                    </a:lnTo>
                    <a:cubicBezTo>
                      <a:pt x="8094" y="10687"/>
                      <a:pt x="8094" y="10588"/>
                      <a:pt x="8094" y="10452"/>
                    </a:cubicBezTo>
                    <a:cubicBezTo>
                      <a:pt x="8094" y="10269"/>
                      <a:pt x="8094" y="10181"/>
                      <a:pt x="8094" y="9999"/>
                    </a:cubicBezTo>
                    <a:cubicBezTo>
                      <a:pt x="8375" y="5438"/>
                      <a:pt x="11062" y="1881"/>
                      <a:pt x="14248" y="1881"/>
                    </a:cubicBezTo>
                    <a:cubicBezTo>
                      <a:pt x="17559" y="1881"/>
                      <a:pt x="20235" y="5931"/>
                      <a:pt x="20235" y="10765"/>
                    </a:cubicBezTo>
                    <a:cubicBezTo>
                      <a:pt x="20235" y="15691"/>
                      <a:pt x="17550" y="19614"/>
                      <a:pt x="14176" y="19614"/>
                    </a:cubicBezTo>
                    <a:lnTo>
                      <a:pt x="5388" y="19614"/>
                    </a:lnTo>
                    <a:cubicBezTo>
                      <a:pt x="3139" y="19614"/>
                      <a:pt x="1341" y="17010"/>
                      <a:pt x="1341" y="13726"/>
                    </a:cubicBezTo>
                    <a:cubicBezTo>
                      <a:pt x="1341" y="10488"/>
                      <a:pt x="3139" y="7804"/>
                      <a:pt x="5388" y="7804"/>
                    </a:cubicBezTo>
                    <a:lnTo>
                      <a:pt x="5388" y="5853"/>
                    </a:lnTo>
                    <a:cubicBezTo>
                      <a:pt x="2389" y="5853"/>
                      <a:pt x="0" y="9394"/>
                      <a:pt x="0" y="13726"/>
                    </a:cubicBezTo>
                    <a:cubicBezTo>
                      <a:pt x="0" y="18059"/>
                      <a:pt x="2389" y="21600"/>
                      <a:pt x="5388" y="21600"/>
                    </a:cubicBezTo>
                    <a:lnTo>
                      <a:pt x="14176" y="21600"/>
                    </a:lnTo>
                    <a:cubicBezTo>
                      <a:pt x="18300" y="21600"/>
                      <a:pt x="21600" y="16799"/>
                      <a:pt x="21600" y="10870"/>
                    </a:cubicBezTo>
                    <a:cubicBezTo>
                      <a:pt x="21600" y="4941"/>
                      <a:pt x="18357" y="91"/>
                      <a:pt x="14296" y="0"/>
                    </a:cubicBezTo>
                    <a:lnTo>
                      <a:pt x="14176" y="0"/>
                    </a:lnTo>
                    <a:close/>
                    <a:moveTo>
                      <a:pt x="14176" y="4006"/>
                    </a:moveTo>
                    <a:cubicBezTo>
                      <a:pt x="11748" y="4006"/>
                      <a:pt x="9581" y="6752"/>
                      <a:pt x="9363" y="10208"/>
                    </a:cubicBezTo>
                    <a:lnTo>
                      <a:pt x="9363" y="10382"/>
                    </a:lnTo>
                    <a:cubicBezTo>
                      <a:pt x="9363" y="10473"/>
                      <a:pt x="9363" y="10709"/>
                      <a:pt x="9363" y="10800"/>
                    </a:cubicBezTo>
                    <a:lnTo>
                      <a:pt x="10728" y="10800"/>
                    </a:lnTo>
                    <a:cubicBezTo>
                      <a:pt x="10728" y="10618"/>
                      <a:pt x="10728" y="10459"/>
                      <a:pt x="10728" y="10277"/>
                    </a:cubicBezTo>
                    <a:cubicBezTo>
                      <a:pt x="10915" y="7913"/>
                      <a:pt x="12433" y="5957"/>
                      <a:pt x="14176" y="5957"/>
                    </a:cubicBezTo>
                    <a:lnTo>
                      <a:pt x="14176" y="4006"/>
                    </a:lnTo>
                    <a:close/>
                  </a:path>
                </a:pathLst>
              </a:custGeom>
              <a:solidFill>
                <a:srgbClr val="555556"/>
              </a:solidFill>
              <a:ln w="12700">
                <a:miter lim="400000"/>
              </a:ln>
            </p:spPr>
            <p:txBody>
              <a:bodyPr lIns="45719" rIns="45719" anchor="ctr"/>
              <a:lstStyle>
                <a:defPPr marL="0" marR="0" indent="0" algn="l" defTabSz="914400" rtl="0" fontAlgn="auto" latinLnBrk="1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800" b="0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</a:defRPr>
                </a:defPPr>
                <a:lvl1pPr marL="0" marR="0" indent="0" algn="ctr" defTabSz="8255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5000" b="0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  <a:latin typeface="Helvetica Light"/>
                    <a:ea typeface="Helvetica Light"/>
                    <a:cs typeface="Helvetica Light"/>
                    <a:sym typeface="Helvetica Light"/>
                  </a:defRPr>
                </a:lvl1pPr>
                <a:lvl2pPr marL="0" marR="0" indent="228600" algn="ctr" defTabSz="8255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5000" b="0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  <a:latin typeface="Helvetica Light"/>
                    <a:ea typeface="Helvetica Light"/>
                    <a:cs typeface="Helvetica Light"/>
                    <a:sym typeface="Helvetica Light"/>
                  </a:defRPr>
                </a:lvl2pPr>
                <a:lvl3pPr marL="0" marR="0" indent="457200" algn="ctr" defTabSz="8255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5000" b="0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  <a:latin typeface="Helvetica Light"/>
                    <a:ea typeface="Helvetica Light"/>
                    <a:cs typeface="Helvetica Light"/>
                    <a:sym typeface="Helvetica Light"/>
                  </a:defRPr>
                </a:lvl3pPr>
                <a:lvl4pPr marL="0" marR="0" indent="685800" algn="ctr" defTabSz="8255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5000" b="0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  <a:latin typeface="Helvetica Light"/>
                    <a:ea typeface="Helvetica Light"/>
                    <a:cs typeface="Helvetica Light"/>
                    <a:sym typeface="Helvetica Light"/>
                  </a:defRPr>
                </a:lvl4pPr>
                <a:lvl5pPr marL="0" marR="0" indent="914400" algn="ctr" defTabSz="8255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5000" b="0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  <a:latin typeface="Helvetica Light"/>
                    <a:ea typeface="Helvetica Light"/>
                    <a:cs typeface="Helvetica Light"/>
                    <a:sym typeface="Helvetica Light"/>
                  </a:defRPr>
                </a:lvl5pPr>
                <a:lvl6pPr marL="0" marR="0" indent="1143000" algn="ctr" defTabSz="8255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5000" b="0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  <a:latin typeface="Helvetica Light"/>
                    <a:ea typeface="Helvetica Light"/>
                    <a:cs typeface="Helvetica Light"/>
                    <a:sym typeface="Helvetica Light"/>
                  </a:defRPr>
                </a:lvl6pPr>
                <a:lvl7pPr marL="0" marR="0" indent="1371600" algn="ctr" defTabSz="8255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5000" b="0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  <a:latin typeface="Helvetica Light"/>
                    <a:ea typeface="Helvetica Light"/>
                    <a:cs typeface="Helvetica Light"/>
                    <a:sym typeface="Helvetica Light"/>
                  </a:defRPr>
                </a:lvl7pPr>
                <a:lvl8pPr marL="0" marR="0" indent="1600200" algn="ctr" defTabSz="8255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5000" b="0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  <a:latin typeface="Helvetica Light"/>
                    <a:ea typeface="Helvetica Light"/>
                    <a:cs typeface="Helvetica Light"/>
                    <a:sym typeface="Helvetica Light"/>
                  </a:defRPr>
                </a:lvl8pPr>
                <a:lvl9pPr marL="0" marR="0" indent="1828800" algn="ctr" defTabSz="8255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5000" b="0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  <a:latin typeface="Helvetica Light"/>
                    <a:ea typeface="Helvetica Light"/>
                    <a:cs typeface="Helvetica Light"/>
                    <a:sym typeface="Helvetica Light"/>
                  </a:defRPr>
                </a:lvl9pPr>
              </a:lstStyle>
              <a:p>
                <a:pPr algn="l" defTabSz="457200">
                  <a:lnSpc>
                    <a:spcPct val="93000"/>
                  </a:lnSpc>
                  <a:defRPr sz="1800">
                    <a:latin typeface="Open Sans"/>
                    <a:ea typeface="Open Sans"/>
                    <a:cs typeface="Open Sans"/>
                    <a:sym typeface="Open Sans"/>
                  </a:defRPr>
                </a:pPr>
                <a:endParaRPr lang="de-DE" sz="1800" dirty="0">
                  <a:latin typeface="Segoe UI Light" panose="020B0502040204020203" pitchFamily="34" charset="0"/>
                  <a:cs typeface="Segoe UI Light" panose="020B0502040204020203" pitchFamily="34" charset="0"/>
                  <a:sym typeface="Open Sans"/>
                </a:endParaRPr>
              </a:p>
            </p:txBody>
          </p:sp>
          <p:cxnSp>
            <p:nvCxnSpPr>
              <p:cNvPr id="71" name="Straight Connector 64">
                <a:extLst>
                  <a:ext uri="{FF2B5EF4-FFF2-40B4-BE49-F238E27FC236}">
                    <a16:creationId xmlns:a16="http://schemas.microsoft.com/office/drawing/2014/main" id="{6E68668D-9146-45E5-830F-D26BA538883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06020" y="1561076"/>
                <a:ext cx="438540" cy="431427"/>
              </a:xfrm>
              <a:prstGeom prst="line">
                <a:avLst/>
              </a:prstGeom>
              <a:ln w="28575">
                <a:solidFill>
                  <a:schemeClr val="bg2">
                    <a:lumMod val="25000"/>
                  </a:schemeClr>
                </a:solidFill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  <p:sp>
        <p:nvSpPr>
          <p:cNvPr id="24" name="object 17">
            <a:extLst>
              <a:ext uri="{FF2B5EF4-FFF2-40B4-BE49-F238E27FC236}">
                <a16:creationId xmlns:a16="http://schemas.microsoft.com/office/drawing/2014/main" id="{98DAD606-13DE-44D8-9498-51C5013E4A82}"/>
              </a:ext>
            </a:extLst>
          </p:cNvPr>
          <p:cNvSpPr/>
          <p:nvPr/>
        </p:nvSpPr>
        <p:spPr>
          <a:xfrm>
            <a:off x="668265" y="3112337"/>
            <a:ext cx="5372222" cy="832105"/>
          </a:xfrm>
          <a:custGeom>
            <a:avLst/>
            <a:gdLst/>
            <a:ahLst/>
            <a:cxnLst/>
            <a:rect l="l" t="t" r="r" b="b"/>
            <a:pathLst>
              <a:path w="3154679" h="749935">
                <a:moveTo>
                  <a:pt x="2779776" y="0"/>
                </a:moveTo>
                <a:lnTo>
                  <a:pt x="0" y="0"/>
                </a:lnTo>
                <a:lnTo>
                  <a:pt x="374903" y="374904"/>
                </a:lnTo>
                <a:lnTo>
                  <a:pt x="0" y="749808"/>
                </a:lnTo>
                <a:lnTo>
                  <a:pt x="2779776" y="749808"/>
                </a:lnTo>
                <a:lnTo>
                  <a:pt x="3154680" y="374904"/>
                </a:lnTo>
                <a:lnTo>
                  <a:pt x="2779776" y="0"/>
                </a:lnTo>
                <a:close/>
              </a:path>
            </a:pathLst>
          </a:custGeom>
          <a:solidFill>
            <a:schemeClr val="bg1"/>
          </a:solidFill>
          <a:ln w="136525">
            <a:solidFill>
              <a:srgbClr val="533F6F"/>
            </a:solidFill>
          </a:ln>
        </p:spPr>
        <p:txBody>
          <a:bodyPr wrap="square" lIns="0" tIns="0" rIns="0" bIns="0" rtlCol="0"/>
          <a:lstStyle/>
          <a:p>
            <a:endParaRPr lang="de-DE" sz="900" dirty="0">
              <a:solidFill>
                <a:prstClr val="black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endParaRPr lang="de-DE" sz="900" dirty="0">
              <a:solidFill>
                <a:prstClr val="black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algn="ctr"/>
            <a:r>
              <a:rPr lang="de-DE" sz="2000" b="1" dirty="0">
                <a:solidFill>
                  <a:prstClr val="black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2018</a:t>
            </a:r>
          </a:p>
        </p:txBody>
      </p:sp>
    </p:spTree>
    <p:extLst>
      <p:ext uri="{BB962C8B-B14F-4D97-AF65-F5344CB8AC3E}">
        <p14:creationId xmlns:p14="http://schemas.microsoft.com/office/powerpoint/2010/main" val="418140921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  <p:bldP spid="24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7451" y="5996416"/>
            <a:ext cx="1756524" cy="1171015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9505" y="6223347"/>
            <a:ext cx="1400751" cy="700376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994" y="6444768"/>
            <a:ext cx="1097238" cy="274310"/>
          </a:xfrm>
          <a:prstGeom prst="rect">
            <a:avLst/>
          </a:prstGeom>
        </p:spPr>
      </p:pic>
      <p:pic>
        <p:nvPicPr>
          <p:cNvPr id="13" name="Grafik 12" descr="Ein Bild, das Objekt enthält.&#10;&#10;Mit hoher Zuverlässigkeit generierte Beschreibung">
            <a:extLst>
              <a:ext uri="{FF2B5EF4-FFF2-40B4-BE49-F238E27FC236}">
                <a16:creationId xmlns:a16="http://schemas.microsoft.com/office/drawing/2014/main" id="{E5AA72CE-8D17-4FBE-B09F-3FB0C215A16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9094" y="6318652"/>
            <a:ext cx="1049094" cy="431555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36FF77F4-36EF-4017-AB71-867871747EB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7675" y="6343150"/>
            <a:ext cx="2116822" cy="527882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6D0B10B2-C374-4192-88DA-CFF82B9A956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048" y="315357"/>
            <a:ext cx="2223164" cy="779950"/>
          </a:xfrm>
          <a:prstGeom prst="rect">
            <a:avLst/>
          </a:prstGeom>
        </p:spPr>
      </p:pic>
      <p:sp>
        <p:nvSpPr>
          <p:cNvPr id="14" name="Titel 1">
            <a:extLst>
              <a:ext uri="{FF2B5EF4-FFF2-40B4-BE49-F238E27FC236}">
                <a16:creationId xmlns:a16="http://schemas.microsoft.com/office/drawing/2014/main" id="{F2CD2A51-0F8F-4617-BD22-C4A2B0C6256C}"/>
              </a:ext>
            </a:extLst>
          </p:cNvPr>
          <p:cNvSpPr txBox="1">
            <a:spLocks/>
          </p:cNvSpPr>
          <p:nvPr/>
        </p:nvSpPr>
        <p:spPr>
          <a:xfrm>
            <a:off x="2698506" y="315357"/>
            <a:ext cx="9144000" cy="68892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rgbClr val="00B0F0"/>
                </a:solidFill>
                <a:latin typeface="Segoe UI Light" panose="020B0502040204020203" pitchFamily="34" charset="0"/>
                <a:ea typeface="+mj-ea"/>
                <a:cs typeface="Segoe UI Light" panose="020B0502040204020203" pitchFamily="34" charset="0"/>
              </a:defRPr>
            </a:lvl1pPr>
          </a:lstStyle>
          <a:p>
            <a:pPr algn="l"/>
            <a:r>
              <a:rPr lang="de-DE" sz="3600" dirty="0"/>
              <a:t>Störungen auf Ihrer Seite</a:t>
            </a:r>
          </a:p>
        </p:txBody>
      </p:sp>
      <p:grpSp>
        <p:nvGrpSpPr>
          <p:cNvPr id="84" name="Gruppieren 83">
            <a:extLst>
              <a:ext uri="{FF2B5EF4-FFF2-40B4-BE49-F238E27FC236}">
                <a16:creationId xmlns:a16="http://schemas.microsoft.com/office/drawing/2014/main" id="{3B26AE30-B13D-4591-9ADD-A657DE9A9B69}"/>
              </a:ext>
            </a:extLst>
          </p:cNvPr>
          <p:cNvGrpSpPr/>
          <p:nvPr/>
        </p:nvGrpSpPr>
        <p:grpSpPr>
          <a:xfrm>
            <a:off x="463171" y="1608366"/>
            <a:ext cx="3541419" cy="3339613"/>
            <a:chOff x="463171" y="1608366"/>
            <a:chExt cx="3541419" cy="3339613"/>
          </a:xfrm>
        </p:grpSpPr>
        <p:pic>
          <p:nvPicPr>
            <p:cNvPr id="62" name="Picture 2">
              <a:extLst>
                <a:ext uri="{FF2B5EF4-FFF2-40B4-BE49-F238E27FC236}">
                  <a16:creationId xmlns:a16="http://schemas.microsoft.com/office/drawing/2014/main" id="{C2897466-27B1-4D72-8BF8-761F710D348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8200" y="1608366"/>
              <a:ext cx="2876550" cy="25717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3" name="Rectangle 2">
              <a:extLst>
                <a:ext uri="{FF2B5EF4-FFF2-40B4-BE49-F238E27FC236}">
                  <a16:creationId xmlns:a16="http://schemas.microsoft.com/office/drawing/2014/main" id="{11882EA5-52FE-4DF7-B4A0-B4A09AF11790}"/>
                </a:ext>
              </a:extLst>
            </p:cNvPr>
            <p:cNvSpPr/>
            <p:nvPr/>
          </p:nvSpPr>
          <p:spPr>
            <a:xfrm>
              <a:off x="1691906" y="2485348"/>
              <a:ext cx="1083951" cy="6463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b="1" dirty="0">
                  <a:solidFill>
                    <a:srgbClr val="000000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 </a:t>
              </a:r>
              <a:r>
                <a:rPr lang="en-US" sz="3600" b="1" dirty="0">
                  <a:solidFill>
                    <a:srgbClr val="000000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52%</a:t>
              </a:r>
              <a:endParaRPr lang="en-US" sz="3600" b="1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64" name="TextBox 5">
              <a:extLst>
                <a:ext uri="{FF2B5EF4-FFF2-40B4-BE49-F238E27FC236}">
                  <a16:creationId xmlns:a16="http://schemas.microsoft.com/office/drawing/2014/main" id="{38493FA9-31EB-45E2-A20F-6DECCA2A6BAC}"/>
                </a:ext>
              </a:extLst>
            </p:cNvPr>
            <p:cNvSpPr txBox="1"/>
            <p:nvPr/>
          </p:nvSpPr>
          <p:spPr>
            <a:xfrm>
              <a:off x="463171" y="3747650"/>
              <a:ext cx="3541419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2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der Microsoft Supportfälle resultieren aus Problemen auf der Client-Seite</a:t>
              </a:r>
            </a:p>
          </p:txBody>
        </p:sp>
      </p:grpSp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70835AB2-E525-4A63-B771-DA3E3381CC29}"/>
              </a:ext>
            </a:extLst>
          </p:cNvPr>
          <p:cNvGrpSpPr/>
          <p:nvPr/>
        </p:nvGrpSpPr>
        <p:grpSpPr>
          <a:xfrm>
            <a:off x="5391747" y="3059603"/>
            <a:ext cx="5483186" cy="731520"/>
            <a:chOff x="5817682" y="3189519"/>
            <a:chExt cx="5483186" cy="731520"/>
          </a:xfrm>
        </p:grpSpPr>
        <p:sp>
          <p:nvSpPr>
            <p:cNvPr id="66" name="Oval 10">
              <a:extLst>
                <a:ext uri="{FF2B5EF4-FFF2-40B4-BE49-F238E27FC236}">
                  <a16:creationId xmlns:a16="http://schemas.microsoft.com/office/drawing/2014/main" id="{5A74A076-6999-4911-A23E-60642380EA8D}"/>
                </a:ext>
              </a:extLst>
            </p:cNvPr>
            <p:cNvSpPr/>
            <p:nvPr/>
          </p:nvSpPr>
          <p:spPr>
            <a:xfrm>
              <a:off x="5817682" y="3189519"/>
              <a:ext cx="731520" cy="731520"/>
            </a:xfrm>
            <a:prstGeom prst="ellipse">
              <a:avLst/>
            </a:prstGeom>
            <a:solidFill>
              <a:srgbClr val="53C2E5"/>
            </a:solidFill>
            <a:ln w="12700" cap="flat">
              <a:noFill/>
              <a:miter lim="400000"/>
            </a:ln>
            <a:effectLst>
              <a:outerShdw blurRad="38100" dist="25400" dir="5400000" rotWithShape="0">
                <a:srgbClr val="000000">
                  <a:alpha val="50000"/>
                </a:srgb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5400" tIns="25400" rIns="25400" bIns="25400" numCol="1" spcCol="38100" rtlCol="0" anchor="ctr">
              <a:spAutoFit/>
            </a:bodyPr>
            <a:lstStyle/>
            <a:p>
              <a:pPr algn="ctr" defTabSz="412750" hangingPunct="0"/>
              <a:endParaRPr lang="en-US" sz="1600" dirty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endParaRPr>
            </a:p>
          </p:txBody>
        </p:sp>
        <p:sp>
          <p:nvSpPr>
            <p:cNvPr id="67" name="TextBox 14">
              <a:extLst>
                <a:ext uri="{FF2B5EF4-FFF2-40B4-BE49-F238E27FC236}">
                  <a16:creationId xmlns:a16="http://schemas.microsoft.com/office/drawing/2014/main" id="{45D5DE1D-1432-498A-BD22-19F6C8E84186}"/>
                </a:ext>
              </a:extLst>
            </p:cNvPr>
            <p:cNvSpPr txBox="1"/>
            <p:nvPr/>
          </p:nvSpPr>
          <p:spPr>
            <a:xfrm>
              <a:off x="6822219" y="3247543"/>
              <a:ext cx="4478649" cy="523220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r>
                <a:rPr lang="de-DE" sz="2800" b="1" dirty="0">
                  <a:solidFill>
                    <a:srgbClr val="53C2E5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Hybrider Exchange Server</a:t>
              </a:r>
              <a:endParaRPr lang="de-DE" sz="2800" dirty="0">
                <a:solidFill>
                  <a:srgbClr val="53C2E5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69" name="Shape">
              <a:extLst>
                <a:ext uri="{FF2B5EF4-FFF2-40B4-BE49-F238E27FC236}">
                  <a16:creationId xmlns:a16="http://schemas.microsoft.com/office/drawing/2014/main" id="{DE777264-A4EE-45C3-A618-B30C9BC6595F}"/>
                </a:ext>
              </a:extLst>
            </p:cNvPr>
            <p:cNvSpPr/>
            <p:nvPr/>
          </p:nvSpPr>
          <p:spPr>
            <a:xfrm>
              <a:off x="5987791" y="3379591"/>
              <a:ext cx="351377" cy="3513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665" y="21600"/>
                  </a:moveTo>
                  <a:lnTo>
                    <a:pt x="8812" y="16319"/>
                  </a:lnTo>
                  <a:lnTo>
                    <a:pt x="8812" y="18037"/>
                  </a:lnTo>
                  <a:lnTo>
                    <a:pt x="9034" y="17814"/>
                  </a:lnTo>
                  <a:lnTo>
                    <a:pt x="9989" y="18864"/>
                  </a:lnTo>
                  <a:lnTo>
                    <a:pt x="7444" y="21346"/>
                  </a:lnTo>
                  <a:lnTo>
                    <a:pt x="7444" y="13202"/>
                  </a:lnTo>
                  <a:lnTo>
                    <a:pt x="13965" y="19119"/>
                  </a:lnTo>
                  <a:lnTo>
                    <a:pt x="19405" y="2195"/>
                  </a:lnTo>
                  <a:lnTo>
                    <a:pt x="2481" y="8271"/>
                  </a:lnTo>
                  <a:lnTo>
                    <a:pt x="6140" y="11770"/>
                  </a:lnTo>
                  <a:lnTo>
                    <a:pt x="13138" y="6458"/>
                  </a:lnTo>
                  <a:lnTo>
                    <a:pt x="13965" y="7571"/>
                  </a:lnTo>
                  <a:lnTo>
                    <a:pt x="6076" y="13615"/>
                  </a:lnTo>
                  <a:lnTo>
                    <a:pt x="0" y="7698"/>
                  </a:lnTo>
                  <a:lnTo>
                    <a:pt x="21600" y="0"/>
                  </a:lnTo>
                  <a:lnTo>
                    <a:pt x="14665" y="21600"/>
                  </a:lnTo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45719" rIns="45719" anchor="ctr"/>
            <a:lstStyle>
              <a:defPPr marL="0" marR="0" indent="0" algn="l" defTabSz="9144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</a:defRPr>
              </a:defPPr>
              <a:lvl1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1pPr>
              <a:lvl2pPr marL="0" marR="0" indent="2286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2pPr>
              <a:lvl3pPr marL="0" marR="0" indent="4572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3pPr>
              <a:lvl4pPr marL="0" marR="0" indent="6858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4pPr>
              <a:lvl5pPr marL="0" marR="0" indent="9144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5pPr>
              <a:lvl6pPr marL="0" marR="0" indent="11430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6pPr>
              <a:lvl7pPr marL="0" marR="0" indent="13716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7pPr>
              <a:lvl8pPr marL="0" marR="0" indent="16002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8pPr>
              <a:lvl9pPr marL="0" marR="0" indent="18288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9pPr>
            </a:lstStyle>
            <a:p>
              <a:pPr algn="l" defTabSz="457200">
                <a:lnSpc>
                  <a:spcPct val="93000"/>
                </a:lnSpc>
                <a:defRPr sz="1800">
                  <a:latin typeface="Open Sans"/>
                  <a:ea typeface="Open Sans"/>
                  <a:cs typeface="Open Sans"/>
                  <a:sym typeface="Open Sans"/>
                </a:defRPr>
              </a:pPr>
              <a:endParaRPr/>
            </a:p>
          </p:txBody>
        </p:sp>
        <p:sp>
          <p:nvSpPr>
            <p:cNvPr id="70" name="Shape">
              <a:extLst>
                <a:ext uri="{FF2B5EF4-FFF2-40B4-BE49-F238E27FC236}">
                  <a16:creationId xmlns:a16="http://schemas.microsoft.com/office/drawing/2014/main" id="{0BBB3295-C35D-4A29-92EB-4012B5718572}"/>
                </a:ext>
              </a:extLst>
            </p:cNvPr>
            <p:cNvSpPr/>
            <p:nvPr/>
          </p:nvSpPr>
          <p:spPr>
            <a:xfrm>
              <a:off x="6571016" y="3577150"/>
              <a:ext cx="362305" cy="28453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665" y="21600"/>
                  </a:moveTo>
                  <a:lnTo>
                    <a:pt x="8812" y="16319"/>
                  </a:lnTo>
                  <a:lnTo>
                    <a:pt x="8812" y="18037"/>
                  </a:lnTo>
                  <a:lnTo>
                    <a:pt x="9034" y="17814"/>
                  </a:lnTo>
                  <a:lnTo>
                    <a:pt x="9989" y="18864"/>
                  </a:lnTo>
                  <a:lnTo>
                    <a:pt x="7444" y="21346"/>
                  </a:lnTo>
                  <a:lnTo>
                    <a:pt x="7444" y="13202"/>
                  </a:lnTo>
                  <a:lnTo>
                    <a:pt x="13965" y="19119"/>
                  </a:lnTo>
                  <a:lnTo>
                    <a:pt x="19405" y="2195"/>
                  </a:lnTo>
                  <a:lnTo>
                    <a:pt x="2481" y="8271"/>
                  </a:lnTo>
                  <a:lnTo>
                    <a:pt x="6140" y="11770"/>
                  </a:lnTo>
                  <a:lnTo>
                    <a:pt x="13138" y="6458"/>
                  </a:lnTo>
                  <a:lnTo>
                    <a:pt x="13965" y="7571"/>
                  </a:lnTo>
                  <a:lnTo>
                    <a:pt x="6076" y="13615"/>
                  </a:lnTo>
                  <a:lnTo>
                    <a:pt x="0" y="7698"/>
                  </a:lnTo>
                  <a:lnTo>
                    <a:pt x="21600" y="0"/>
                  </a:lnTo>
                  <a:lnTo>
                    <a:pt x="14665" y="21600"/>
                  </a:lnTo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45719" rIns="45719" anchor="ctr"/>
            <a:lstStyle>
              <a:defPPr marL="0" marR="0" indent="0" algn="l" defTabSz="9144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</a:defRPr>
              </a:defPPr>
              <a:lvl1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1pPr>
              <a:lvl2pPr marL="0" marR="0" indent="2286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2pPr>
              <a:lvl3pPr marL="0" marR="0" indent="4572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3pPr>
              <a:lvl4pPr marL="0" marR="0" indent="6858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4pPr>
              <a:lvl5pPr marL="0" marR="0" indent="9144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5pPr>
              <a:lvl6pPr marL="0" marR="0" indent="11430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6pPr>
              <a:lvl7pPr marL="0" marR="0" indent="13716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7pPr>
              <a:lvl8pPr marL="0" marR="0" indent="16002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8pPr>
              <a:lvl9pPr marL="0" marR="0" indent="18288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9pPr>
            </a:lstStyle>
            <a:p>
              <a:pPr algn="l" defTabSz="457200">
                <a:lnSpc>
                  <a:spcPct val="93000"/>
                </a:lnSpc>
                <a:defRPr sz="1800">
                  <a:latin typeface="Open Sans"/>
                  <a:ea typeface="Open Sans"/>
                  <a:cs typeface="Open Sans"/>
                  <a:sym typeface="Open Sans"/>
                </a:defRPr>
              </a:pPr>
              <a:endParaRPr/>
            </a:p>
          </p:txBody>
        </p:sp>
        <p:cxnSp>
          <p:nvCxnSpPr>
            <p:cNvPr id="72" name="Straight Connector 24">
              <a:extLst>
                <a:ext uri="{FF2B5EF4-FFF2-40B4-BE49-F238E27FC236}">
                  <a16:creationId xmlns:a16="http://schemas.microsoft.com/office/drawing/2014/main" id="{140B0E6A-DCEC-48FA-ABD2-03BAD887381C}"/>
                </a:ext>
              </a:extLst>
            </p:cNvPr>
            <p:cNvCxnSpPr>
              <a:stCxn id="66" idx="1"/>
              <a:endCxn id="66" idx="5"/>
            </p:cNvCxnSpPr>
            <p:nvPr/>
          </p:nvCxnSpPr>
          <p:spPr>
            <a:xfrm>
              <a:off x="5924811" y="3296648"/>
              <a:ext cx="517262" cy="517262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9A7D2918-CC77-47AD-9110-894E7AE285D3}"/>
              </a:ext>
            </a:extLst>
          </p:cNvPr>
          <p:cNvGrpSpPr/>
          <p:nvPr/>
        </p:nvGrpSpPr>
        <p:grpSpPr>
          <a:xfrm>
            <a:off x="5397048" y="4163782"/>
            <a:ext cx="5536118" cy="774400"/>
            <a:chOff x="5817682" y="4039961"/>
            <a:chExt cx="5536118" cy="774400"/>
          </a:xfrm>
        </p:grpSpPr>
        <p:sp>
          <p:nvSpPr>
            <p:cNvPr id="65" name="Oval 9">
              <a:extLst>
                <a:ext uri="{FF2B5EF4-FFF2-40B4-BE49-F238E27FC236}">
                  <a16:creationId xmlns:a16="http://schemas.microsoft.com/office/drawing/2014/main" id="{1AB42363-81F4-4E79-83BA-F5BA6B4CCDB6}"/>
                </a:ext>
              </a:extLst>
            </p:cNvPr>
            <p:cNvSpPr/>
            <p:nvPr/>
          </p:nvSpPr>
          <p:spPr>
            <a:xfrm>
              <a:off x="5817682" y="4082841"/>
              <a:ext cx="731520" cy="731520"/>
            </a:xfrm>
            <a:prstGeom prst="ellipse">
              <a:avLst/>
            </a:prstGeom>
            <a:solidFill>
              <a:srgbClr val="72C8B5"/>
            </a:solidFill>
            <a:ln w="12700" cap="flat">
              <a:solidFill>
                <a:srgbClr val="53C2C4"/>
              </a:solidFill>
              <a:miter lim="400000"/>
            </a:ln>
            <a:effectLst>
              <a:outerShdw blurRad="38100" dist="25400" dir="5400000" rotWithShape="0">
                <a:srgbClr val="000000">
                  <a:alpha val="50000"/>
                </a:srgb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5400" tIns="25400" rIns="25400" bIns="25400" numCol="1" spcCol="38100" rtlCol="0" anchor="ctr">
              <a:spAutoFit/>
            </a:bodyPr>
            <a:lstStyle/>
            <a:p>
              <a:pPr algn="ctr" defTabSz="412750" hangingPunct="0"/>
              <a:endParaRPr lang="en-US" sz="1600" dirty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endParaRPr>
            </a:p>
          </p:txBody>
        </p:sp>
        <p:sp>
          <p:nvSpPr>
            <p:cNvPr id="68" name="TextBox 15">
              <a:extLst>
                <a:ext uri="{FF2B5EF4-FFF2-40B4-BE49-F238E27FC236}">
                  <a16:creationId xmlns:a16="http://schemas.microsoft.com/office/drawing/2014/main" id="{C414C193-321C-4D6A-AB9E-BE48F8D12736}"/>
                </a:ext>
              </a:extLst>
            </p:cNvPr>
            <p:cNvSpPr txBox="1"/>
            <p:nvPr/>
          </p:nvSpPr>
          <p:spPr>
            <a:xfrm>
              <a:off x="6822219" y="4039961"/>
              <a:ext cx="4531581" cy="523220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r>
                <a:rPr lang="de-DE" sz="2800" b="1" dirty="0">
                  <a:solidFill>
                    <a:srgbClr val="72C8B5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Authentifizierung </a:t>
              </a:r>
              <a:r>
                <a:rPr lang="de-DE" sz="2800" dirty="0">
                  <a:solidFill>
                    <a:srgbClr val="72C8B5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(AD FS)</a:t>
              </a:r>
              <a:endParaRPr lang="de-DE" sz="28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71" name="Shape">
              <a:extLst>
                <a:ext uri="{FF2B5EF4-FFF2-40B4-BE49-F238E27FC236}">
                  <a16:creationId xmlns:a16="http://schemas.microsoft.com/office/drawing/2014/main" id="{F9CC27E4-7775-4D4A-AD0B-2FF23D0D22FD}"/>
                </a:ext>
              </a:extLst>
            </p:cNvPr>
            <p:cNvSpPr/>
            <p:nvPr/>
          </p:nvSpPr>
          <p:spPr>
            <a:xfrm>
              <a:off x="6012214" y="4281997"/>
              <a:ext cx="351377" cy="3513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665" y="21600"/>
                  </a:moveTo>
                  <a:lnTo>
                    <a:pt x="8812" y="16319"/>
                  </a:lnTo>
                  <a:lnTo>
                    <a:pt x="8812" y="18037"/>
                  </a:lnTo>
                  <a:lnTo>
                    <a:pt x="9034" y="17814"/>
                  </a:lnTo>
                  <a:lnTo>
                    <a:pt x="9989" y="18864"/>
                  </a:lnTo>
                  <a:lnTo>
                    <a:pt x="7444" y="21346"/>
                  </a:lnTo>
                  <a:lnTo>
                    <a:pt x="7444" y="13202"/>
                  </a:lnTo>
                  <a:lnTo>
                    <a:pt x="13965" y="19119"/>
                  </a:lnTo>
                  <a:lnTo>
                    <a:pt x="19405" y="2195"/>
                  </a:lnTo>
                  <a:lnTo>
                    <a:pt x="2481" y="8271"/>
                  </a:lnTo>
                  <a:lnTo>
                    <a:pt x="6140" y="11770"/>
                  </a:lnTo>
                  <a:lnTo>
                    <a:pt x="13138" y="6458"/>
                  </a:lnTo>
                  <a:lnTo>
                    <a:pt x="13965" y="7571"/>
                  </a:lnTo>
                  <a:lnTo>
                    <a:pt x="6076" y="13615"/>
                  </a:lnTo>
                  <a:lnTo>
                    <a:pt x="0" y="7698"/>
                  </a:lnTo>
                  <a:lnTo>
                    <a:pt x="21600" y="0"/>
                  </a:lnTo>
                  <a:lnTo>
                    <a:pt x="14665" y="21600"/>
                  </a:lnTo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45719" rIns="45719" anchor="ctr"/>
            <a:lstStyle>
              <a:defPPr marL="0" marR="0" indent="0" algn="l" defTabSz="9144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</a:defRPr>
              </a:defPPr>
              <a:lvl1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1pPr>
              <a:lvl2pPr marL="0" marR="0" indent="2286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2pPr>
              <a:lvl3pPr marL="0" marR="0" indent="4572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3pPr>
              <a:lvl4pPr marL="0" marR="0" indent="6858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4pPr>
              <a:lvl5pPr marL="0" marR="0" indent="9144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5pPr>
              <a:lvl6pPr marL="0" marR="0" indent="11430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6pPr>
              <a:lvl7pPr marL="0" marR="0" indent="13716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7pPr>
              <a:lvl8pPr marL="0" marR="0" indent="16002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8pPr>
              <a:lvl9pPr marL="0" marR="0" indent="18288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9pPr>
            </a:lstStyle>
            <a:p>
              <a:pPr algn="l" defTabSz="457200">
                <a:lnSpc>
                  <a:spcPct val="93000"/>
                </a:lnSpc>
                <a:defRPr sz="1800">
                  <a:latin typeface="Open Sans"/>
                  <a:ea typeface="Open Sans"/>
                  <a:cs typeface="Open Sans"/>
                  <a:sym typeface="Open Sans"/>
                </a:defRPr>
              </a:pPr>
              <a:endParaRPr/>
            </a:p>
          </p:txBody>
        </p:sp>
        <p:cxnSp>
          <p:nvCxnSpPr>
            <p:cNvPr id="73" name="Straight Connector 26">
              <a:extLst>
                <a:ext uri="{FF2B5EF4-FFF2-40B4-BE49-F238E27FC236}">
                  <a16:creationId xmlns:a16="http://schemas.microsoft.com/office/drawing/2014/main" id="{D8A196C8-258B-4E13-95A2-F6F971BD7313}"/>
                </a:ext>
              </a:extLst>
            </p:cNvPr>
            <p:cNvCxnSpPr>
              <a:stCxn id="65" idx="1"/>
              <a:endCxn id="65" idx="5"/>
            </p:cNvCxnSpPr>
            <p:nvPr/>
          </p:nvCxnSpPr>
          <p:spPr>
            <a:xfrm>
              <a:off x="5924811" y="4189970"/>
              <a:ext cx="517262" cy="517262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D20C0EAE-B679-4C13-9EF3-BADF3E2805F3}"/>
              </a:ext>
            </a:extLst>
          </p:cNvPr>
          <p:cNvGrpSpPr/>
          <p:nvPr/>
        </p:nvGrpSpPr>
        <p:grpSpPr>
          <a:xfrm>
            <a:off x="5383033" y="1955424"/>
            <a:ext cx="5468793" cy="731520"/>
            <a:chOff x="5817682" y="2296197"/>
            <a:chExt cx="5468793" cy="731520"/>
          </a:xfrm>
        </p:grpSpPr>
        <p:sp>
          <p:nvSpPr>
            <p:cNvPr id="74" name="Oval 29">
              <a:extLst>
                <a:ext uri="{FF2B5EF4-FFF2-40B4-BE49-F238E27FC236}">
                  <a16:creationId xmlns:a16="http://schemas.microsoft.com/office/drawing/2014/main" id="{28D563D8-CE46-4642-9D8D-1722F90944B5}"/>
                </a:ext>
              </a:extLst>
            </p:cNvPr>
            <p:cNvSpPr/>
            <p:nvPr/>
          </p:nvSpPr>
          <p:spPr>
            <a:xfrm>
              <a:off x="5817682" y="2296197"/>
              <a:ext cx="731520" cy="731520"/>
            </a:xfrm>
            <a:prstGeom prst="ellipse">
              <a:avLst/>
            </a:prstGeom>
            <a:solidFill>
              <a:srgbClr val="533F6F"/>
            </a:solidFill>
            <a:ln w="12700" cap="flat">
              <a:noFill/>
              <a:miter lim="400000"/>
            </a:ln>
            <a:effectLst>
              <a:outerShdw blurRad="38100" dist="25400" dir="5400000" rotWithShape="0">
                <a:srgbClr val="000000">
                  <a:alpha val="50000"/>
                </a:srgb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5400" tIns="25400" rIns="25400" bIns="25400" numCol="1" spcCol="38100" rtlCol="0" anchor="ctr">
              <a:spAutoFit/>
            </a:bodyPr>
            <a:lstStyle/>
            <a:p>
              <a:pPr algn="ctr" defTabSz="412750" hangingPunct="0"/>
              <a:endParaRPr lang="en-US" sz="1600" dirty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endParaRPr>
            </a:p>
          </p:txBody>
        </p:sp>
        <p:sp>
          <p:nvSpPr>
            <p:cNvPr id="75" name="TextBox 30">
              <a:extLst>
                <a:ext uri="{FF2B5EF4-FFF2-40B4-BE49-F238E27FC236}">
                  <a16:creationId xmlns:a16="http://schemas.microsoft.com/office/drawing/2014/main" id="{7B39A762-262B-4B0E-9ECE-A8319304FF4B}"/>
                </a:ext>
              </a:extLst>
            </p:cNvPr>
            <p:cNvSpPr txBox="1"/>
            <p:nvPr/>
          </p:nvSpPr>
          <p:spPr>
            <a:xfrm>
              <a:off x="6807826" y="2385630"/>
              <a:ext cx="4478649" cy="523220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r>
                <a:rPr lang="de-DE" sz="2800" b="1" dirty="0">
                  <a:solidFill>
                    <a:srgbClr val="533F6F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Netzwerk</a:t>
              </a:r>
              <a:endParaRPr lang="de-DE" sz="28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76" name="Shape">
              <a:extLst>
                <a:ext uri="{FF2B5EF4-FFF2-40B4-BE49-F238E27FC236}">
                  <a16:creationId xmlns:a16="http://schemas.microsoft.com/office/drawing/2014/main" id="{7D32A4B8-C382-4A17-8DA0-6279E0E36D71}"/>
                </a:ext>
              </a:extLst>
            </p:cNvPr>
            <p:cNvSpPr/>
            <p:nvPr/>
          </p:nvSpPr>
          <p:spPr>
            <a:xfrm>
              <a:off x="6007754" y="2475397"/>
              <a:ext cx="351377" cy="3513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665" y="21600"/>
                  </a:moveTo>
                  <a:lnTo>
                    <a:pt x="8812" y="16319"/>
                  </a:lnTo>
                  <a:lnTo>
                    <a:pt x="8812" y="18037"/>
                  </a:lnTo>
                  <a:lnTo>
                    <a:pt x="9034" y="17814"/>
                  </a:lnTo>
                  <a:lnTo>
                    <a:pt x="9989" y="18864"/>
                  </a:lnTo>
                  <a:lnTo>
                    <a:pt x="7444" y="21346"/>
                  </a:lnTo>
                  <a:lnTo>
                    <a:pt x="7444" y="13202"/>
                  </a:lnTo>
                  <a:lnTo>
                    <a:pt x="13965" y="19119"/>
                  </a:lnTo>
                  <a:lnTo>
                    <a:pt x="19405" y="2195"/>
                  </a:lnTo>
                  <a:lnTo>
                    <a:pt x="2481" y="8271"/>
                  </a:lnTo>
                  <a:lnTo>
                    <a:pt x="6140" y="11770"/>
                  </a:lnTo>
                  <a:lnTo>
                    <a:pt x="13138" y="6458"/>
                  </a:lnTo>
                  <a:lnTo>
                    <a:pt x="13965" y="7571"/>
                  </a:lnTo>
                  <a:lnTo>
                    <a:pt x="6076" y="13615"/>
                  </a:lnTo>
                  <a:lnTo>
                    <a:pt x="0" y="7698"/>
                  </a:lnTo>
                  <a:lnTo>
                    <a:pt x="21600" y="0"/>
                  </a:lnTo>
                  <a:lnTo>
                    <a:pt x="14665" y="21600"/>
                  </a:lnTo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45719" rIns="45719" anchor="ctr"/>
            <a:lstStyle>
              <a:defPPr marL="0" marR="0" indent="0" algn="l" defTabSz="9144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</a:defRPr>
              </a:defPPr>
              <a:lvl1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1pPr>
              <a:lvl2pPr marL="0" marR="0" indent="2286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2pPr>
              <a:lvl3pPr marL="0" marR="0" indent="4572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3pPr>
              <a:lvl4pPr marL="0" marR="0" indent="6858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4pPr>
              <a:lvl5pPr marL="0" marR="0" indent="9144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5pPr>
              <a:lvl6pPr marL="0" marR="0" indent="11430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6pPr>
              <a:lvl7pPr marL="0" marR="0" indent="13716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7pPr>
              <a:lvl8pPr marL="0" marR="0" indent="16002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8pPr>
              <a:lvl9pPr marL="0" marR="0" indent="18288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9pPr>
            </a:lstStyle>
            <a:p>
              <a:pPr algn="l" defTabSz="457200">
                <a:lnSpc>
                  <a:spcPct val="93000"/>
                </a:lnSpc>
                <a:defRPr sz="1800">
                  <a:latin typeface="Open Sans"/>
                  <a:ea typeface="Open Sans"/>
                  <a:cs typeface="Open Sans"/>
                  <a:sym typeface="Open Sans"/>
                </a:defRPr>
              </a:pPr>
              <a:endParaRPr/>
            </a:p>
          </p:txBody>
        </p:sp>
        <p:cxnSp>
          <p:nvCxnSpPr>
            <p:cNvPr id="77" name="Straight Connector 32">
              <a:extLst>
                <a:ext uri="{FF2B5EF4-FFF2-40B4-BE49-F238E27FC236}">
                  <a16:creationId xmlns:a16="http://schemas.microsoft.com/office/drawing/2014/main" id="{64B8F124-8FEB-4313-BE1A-6FD6C22D3380}"/>
                </a:ext>
              </a:extLst>
            </p:cNvPr>
            <p:cNvCxnSpPr>
              <a:stCxn id="74" idx="1"/>
              <a:endCxn id="74" idx="5"/>
            </p:cNvCxnSpPr>
            <p:nvPr/>
          </p:nvCxnSpPr>
          <p:spPr>
            <a:xfrm>
              <a:off x="5924811" y="2403326"/>
              <a:ext cx="517262" cy="517262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3" name="Gruppieren 82">
            <a:extLst>
              <a:ext uri="{FF2B5EF4-FFF2-40B4-BE49-F238E27FC236}">
                <a16:creationId xmlns:a16="http://schemas.microsoft.com/office/drawing/2014/main" id="{5AEBAD17-80B6-4D2D-90DB-3F7E94DF09A2}"/>
              </a:ext>
            </a:extLst>
          </p:cNvPr>
          <p:cNvGrpSpPr/>
          <p:nvPr/>
        </p:nvGrpSpPr>
        <p:grpSpPr>
          <a:xfrm>
            <a:off x="5391747" y="5310840"/>
            <a:ext cx="6332784" cy="731520"/>
            <a:chOff x="5859216" y="4998666"/>
            <a:chExt cx="6332784" cy="731520"/>
          </a:xfrm>
        </p:grpSpPr>
        <p:sp>
          <p:nvSpPr>
            <p:cNvPr id="78" name="Oval 33">
              <a:extLst>
                <a:ext uri="{FF2B5EF4-FFF2-40B4-BE49-F238E27FC236}">
                  <a16:creationId xmlns:a16="http://schemas.microsoft.com/office/drawing/2014/main" id="{E685B61C-4924-45A9-BCDF-C8F908D2A777}"/>
                </a:ext>
              </a:extLst>
            </p:cNvPr>
            <p:cNvSpPr/>
            <p:nvPr/>
          </p:nvSpPr>
          <p:spPr>
            <a:xfrm>
              <a:off x="5859216" y="4998666"/>
              <a:ext cx="731520" cy="731520"/>
            </a:xfrm>
            <a:prstGeom prst="ellipse">
              <a:avLst/>
            </a:prstGeom>
            <a:solidFill>
              <a:srgbClr val="533F6F"/>
            </a:solidFill>
            <a:ln w="12700" cap="flat">
              <a:noFill/>
              <a:miter lim="400000"/>
            </a:ln>
            <a:effectLst>
              <a:outerShdw blurRad="38100" dist="25400" dir="5400000" rotWithShape="0">
                <a:srgbClr val="000000">
                  <a:alpha val="50000"/>
                </a:srgb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5400" tIns="25400" rIns="25400" bIns="25400" numCol="1" spcCol="38100" rtlCol="0" anchor="ctr">
              <a:spAutoFit/>
            </a:bodyPr>
            <a:lstStyle/>
            <a:p>
              <a:pPr algn="ctr" defTabSz="412750" hangingPunct="0"/>
              <a:endParaRPr lang="en-US" sz="1600" dirty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endParaRPr>
            </a:p>
          </p:txBody>
        </p:sp>
        <p:sp>
          <p:nvSpPr>
            <p:cNvPr id="79" name="TextBox 34">
              <a:extLst>
                <a:ext uri="{FF2B5EF4-FFF2-40B4-BE49-F238E27FC236}">
                  <a16:creationId xmlns:a16="http://schemas.microsoft.com/office/drawing/2014/main" id="{FE5F6814-2192-4657-9CDD-8847E51956CA}"/>
                </a:ext>
              </a:extLst>
            </p:cNvPr>
            <p:cNvSpPr txBox="1"/>
            <p:nvPr/>
          </p:nvSpPr>
          <p:spPr>
            <a:xfrm>
              <a:off x="6822219" y="5071921"/>
              <a:ext cx="5369781" cy="523220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r>
                <a:rPr lang="de-DE" sz="2800" b="1" dirty="0">
                  <a:solidFill>
                    <a:srgbClr val="533F6F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Konfiguration </a:t>
              </a:r>
              <a:r>
                <a:rPr lang="de-DE" sz="2800" dirty="0">
                  <a:solidFill>
                    <a:srgbClr val="533F6F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(Zertifikate, DNS)</a:t>
              </a:r>
              <a:endParaRPr lang="de-DE" sz="28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80" name="Shape">
              <a:extLst>
                <a:ext uri="{FF2B5EF4-FFF2-40B4-BE49-F238E27FC236}">
                  <a16:creationId xmlns:a16="http://schemas.microsoft.com/office/drawing/2014/main" id="{17F2415A-8382-4958-9F37-EA422DD52254}"/>
                </a:ext>
              </a:extLst>
            </p:cNvPr>
            <p:cNvSpPr/>
            <p:nvPr/>
          </p:nvSpPr>
          <p:spPr>
            <a:xfrm>
              <a:off x="6049288" y="5177866"/>
              <a:ext cx="351377" cy="3513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665" y="21600"/>
                  </a:moveTo>
                  <a:lnTo>
                    <a:pt x="8812" y="16319"/>
                  </a:lnTo>
                  <a:lnTo>
                    <a:pt x="8812" y="18037"/>
                  </a:lnTo>
                  <a:lnTo>
                    <a:pt x="9034" y="17814"/>
                  </a:lnTo>
                  <a:lnTo>
                    <a:pt x="9989" y="18864"/>
                  </a:lnTo>
                  <a:lnTo>
                    <a:pt x="7444" y="21346"/>
                  </a:lnTo>
                  <a:lnTo>
                    <a:pt x="7444" y="13202"/>
                  </a:lnTo>
                  <a:lnTo>
                    <a:pt x="13965" y="19119"/>
                  </a:lnTo>
                  <a:lnTo>
                    <a:pt x="19405" y="2195"/>
                  </a:lnTo>
                  <a:lnTo>
                    <a:pt x="2481" y="8271"/>
                  </a:lnTo>
                  <a:lnTo>
                    <a:pt x="6140" y="11770"/>
                  </a:lnTo>
                  <a:lnTo>
                    <a:pt x="13138" y="6458"/>
                  </a:lnTo>
                  <a:lnTo>
                    <a:pt x="13965" y="7571"/>
                  </a:lnTo>
                  <a:lnTo>
                    <a:pt x="6076" y="13615"/>
                  </a:lnTo>
                  <a:lnTo>
                    <a:pt x="0" y="7698"/>
                  </a:lnTo>
                  <a:lnTo>
                    <a:pt x="21600" y="0"/>
                  </a:lnTo>
                  <a:lnTo>
                    <a:pt x="14665" y="21600"/>
                  </a:lnTo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45719" rIns="45719" anchor="ctr"/>
            <a:lstStyle>
              <a:defPPr marL="0" marR="0" indent="0" algn="l" defTabSz="9144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</a:defRPr>
              </a:defPPr>
              <a:lvl1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1pPr>
              <a:lvl2pPr marL="0" marR="0" indent="2286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2pPr>
              <a:lvl3pPr marL="0" marR="0" indent="4572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3pPr>
              <a:lvl4pPr marL="0" marR="0" indent="6858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4pPr>
              <a:lvl5pPr marL="0" marR="0" indent="9144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5pPr>
              <a:lvl6pPr marL="0" marR="0" indent="11430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6pPr>
              <a:lvl7pPr marL="0" marR="0" indent="13716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7pPr>
              <a:lvl8pPr marL="0" marR="0" indent="16002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8pPr>
              <a:lvl9pPr marL="0" marR="0" indent="18288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9pPr>
            </a:lstStyle>
            <a:p>
              <a:pPr algn="l" defTabSz="457200">
                <a:lnSpc>
                  <a:spcPct val="93000"/>
                </a:lnSpc>
                <a:defRPr sz="1800">
                  <a:latin typeface="Open Sans"/>
                  <a:ea typeface="Open Sans"/>
                  <a:cs typeface="Open Sans"/>
                  <a:sym typeface="Open Sans"/>
                </a:defRPr>
              </a:pPr>
              <a:endParaRPr/>
            </a:p>
          </p:txBody>
        </p:sp>
        <p:cxnSp>
          <p:nvCxnSpPr>
            <p:cNvPr id="81" name="Straight Connector 36">
              <a:extLst>
                <a:ext uri="{FF2B5EF4-FFF2-40B4-BE49-F238E27FC236}">
                  <a16:creationId xmlns:a16="http://schemas.microsoft.com/office/drawing/2014/main" id="{EDB6050E-4BFE-4B52-A23B-34916BBE23CA}"/>
                </a:ext>
              </a:extLst>
            </p:cNvPr>
            <p:cNvCxnSpPr>
              <a:stCxn id="78" idx="1"/>
              <a:endCxn id="78" idx="5"/>
            </p:cNvCxnSpPr>
            <p:nvPr/>
          </p:nvCxnSpPr>
          <p:spPr>
            <a:xfrm>
              <a:off x="5966345" y="5105795"/>
              <a:ext cx="517262" cy="517262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2" name="TextBox 37">
            <a:extLst>
              <a:ext uri="{FF2B5EF4-FFF2-40B4-BE49-F238E27FC236}">
                <a16:creationId xmlns:a16="http://schemas.microsoft.com/office/drawing/2014/main" id="{C8B49E3B-A2A6-4AA5-BA81-2C3DBE65F185}"/>
              </a:ext>
            </a:extLst>
          </p:cNvPr>
          <p:cNvSpPr txBox="1"/>
          <p:nvPr/>
        </p:nvSpPr>
        <p:spPr>
          <a:xfrm>
            <a:off x="5383033" y="1333889"/>
            <a:ext cx="610806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latin typeface="Segoe UI Light" panose="020B0502040204020203" pitchFamily="34" charset="0"/>
                <a:cs typeface="Segoe UI Light" panose="020B0502040204020203" pitchFamily="34" charset="0"/>
              </a:rPr>
              <a:t>Häufige Gründe für Störungen sind </a:t>
            </a:r>
          </a:p>
        </p:txBody>
      </p:sp>
    </p:spTree>
    <p:extLst>
      <p:ext uri="{BB962C8B-B14F-4D97-AF65-F5344CB8AC3E}">
        <p14:creationId xmlns:p14="http://schemas.microsoft.com/office/powerpoint/2010/main" val="103111512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2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7451" y="5996416"/>
            <a:ext cx="1756524" cy="1171015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9505" y="6223347"/>
            <a:ext cx="1400751" cy="700376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994" y="6444768"/>
            <a:ext cx="1097238" cy="27431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29859" y="1218723"/>
            <a:ext cx="11774638" cy="688925"/>
          </a:xfrm>
        </p:spPr>
        <p:txBody>
          <a:bodyPr>
            <a:normAutofit/>
          </a:bodyPr>
          <a:lstStyle/>
          <a:p>
            <a:pPr algn="l"/>
            <a:r>
              <a:rPr lang="de-DE" sz="3600" dirty="0"/>
              <a:t>Traditionelle Lücken bei der Anwendungsüberwachung</a:t>
            </a:r>
          </a:p>
        </p:txBody>
      </p:sp>
      <p:pic>
        <p:nvPicPr>
          <p:cNvPr id="13" name="Grafik 12" descr="Ein Bild, das Objekt enthält.&#10;&#10;Mit hoher Zuverlässigkeit generierte Beschreibung">
            <a:extLst>
              <a:ext uri="{FF2B5EF4-FFF2-40B4-BE49-F238E27FC236}">
                <a16:creationId xmlns:a16="http://schemas.microsoft.com/office/drawing/2014/main" id="{E5AA72CE-8D17-4FBE-B09F-3FB0C215A16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9094" y="6318652"/>
            <a:ext cx="1049094" cy="431555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36FF77F4-36EF-4017-AB71-867871747EB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7675" y="6343150"/>
            <a:ext cx="2116822" cy="527882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A195C9F0-6D6D-40FF-A7A7-FFBE0258047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048" y="315357"/>
            <a:ext cx="2223164" cy="779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608235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7451" y="5996416"/>
            <a:ext cx="1756524" cy="1171015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9505" y="6223347"/>
            <a:ext cx="1400751" cy="700376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994" y="6444768"/>
            <a:ext cx="1097238" cy="274310"/>
          </a:xfrm>
          <a:prstGeom prst="rect">
            <a:avLst/>
          </a:prstGeom>
        </p:spPr>
      </p:pic>
      <p:pic>
        <p:nvPicPr>
          <p:cNvPr id="13" name="Grafik 12" descr="Ein Bild, das Objekt enthält.&#10;&#10;Mit hoher Zuverlässigkeit generierte Beschreibung">
            <a:extLst>
              <a:ext uri="{FF2B5EF4-FFF2-40B4-BE49-F238E27FC236}">
                <a16:creationId xmlns:a16="http://schemas.microsoft.com/office/drawing/2014/main" id="{E5AA72CE-8D17-4FBE-B09F-3FB0C215A16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9094" y="6318652"/>
            <a:ext cx="1049094" cy="431555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36FF77F4-36EF-4017-AB71-867871747EB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7675" y="6343150"/>
            <a:ext cx="2116822" cy="527882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6D0B10B2-C374-4192-88DA-CFF82B9A956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048" y="315357"/>
            <a:ext cx="2223164" cy="779950"/>
          </a:xfrm>
          <a:prstGeom prst="rect">
            <a:avLst/>
          </a:prstGeom>
        </p:spPr>
      </p:pic>
      <p:sp>
        <p:nvSpPr>
          <p:cNvPr id="14" name="Titel 1">
            <a:extLst>
              <a:ext uri="{FF2B5EF4-FFF2-40B4-BE49-F238E27FC236}">
                <a16:creationId xmlns:a16="http://schemas.microsoft.com/office/drawing/2014/main" id="{F2CD2A51-0F8F-4617-BD22-C4A2B0C6256C}"/>
              </a:ext>
            </a:extLst>
          </p:cNvPr>
          <p:cNvSpPr txBox="1">
            <a:spLocks/>
          </p:cNvSpPr>
          <p:nvPr/>
        </p:nvSpPr>
        <p:spPr>
          <a:xfrm>
            <a:off x="2698506" y="315357"/>
            <a:ext cx="9144000" cy="68892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rgbClr val="00B0F0"/>
                </a:solidFill>
                <a:latin typeface="Segoe UI Light" panose="020B0502040204020203" pitchFamily="34" charset="0"/>
                <a:ea typeface="+mj-ea"/>
                <a:cs typeface="Segoe UI Light" panose="020B0502040204020203" pitchFamily="34" charset="0"/>
              </a:defRPr>
            </a:lvl1pPr>
          </a:lstStyle>
          <a:p>
            <a:pPr algn="l"/>
            <a:r>
              <a:rPr lang="de-DE" sz="3600" dirty="0"/>
              <a:t>Lücken bei der Anwendungsüberwachung</a:t>
            </a:r>
          </a:p>
        </p:txBody>
      </p: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B7AE4305-2E53-4479-BA57-DFA60B676EAC}"/>
              </a:ext>
            </a:extLst>
          </p:cNvPr>
          <p:cNvGrpSpPr/>
          <p:nvPr/>
        </p:nvGrpSpPr>
        <p:grpSpPr>
          <a:xfrm>
            <a:off x="8844468" y="3429000"/>
            <a:ext cx="670342" cy="821239"/>
            <a:chOff x="8844468" y="3429000"/>
            <a:chExt cx="670342" cy="821239"/>
          </a:xfrm>
        </p:grpSpPr>
        <p:pic>
          <p:nvPicPr>
            <p:cNvPr id="2" name="Grafik 1">
              <a:extLst>
                <a:ext uri="{FF2B5EF4-FFF2-40B4-BE49-F238E27FC236}">
                  <a16:creationId xmlns:a16="http://schemas.microsoft.com/office/drawing/2014/main" id="{440DFEC3-81F2-44B2-84B8-5E3DCC6FB91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8844468" y="3429000"/>
              <a:ext cx="416074" cy="729433"/>
            </a:xfrm>
            <a:prstGeom prst="rect">
              <a:avLst/>
            </a:prstGeom>
          </p:spPr>
        </p:pic>
        <p:pic>
          <p:nvPicPr>
            <p:cNvPr id="21" name="Grafik 20">
              <a:extLst>
                <a:ext uri="{FF2B5EF4-FFF2-40B4-BE49-F238E27FC236}">
                  <a16:creationId xmlns:a16="http://schemas.microsoft.com/office/drawing/2014/main" id="{0157609B-9D28-489B-959A-A95EDC2A952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9052505" y="3853206"/>
              <a:ext cx="462305" cy="397033"/>
            </a:xfrm>
            <a:prstGeom prst="rect">
              <a:avLst/>
            </a:prstGeom>
          </p:spPr>
        </p:pic>
      </p:grpSp>
      <p:sp>
        <p:nvSpPr>
          <p:cNvPr id="24" name="Textfeld 23">
            <a:extLst>
              <a:ext uri="{FF2B5EF4-FFF2-40B4-BE49-F238E27FC236}">
                <a16:creationId xmlns:a16="http://schemas.microsoft.com/office/drawing/2014/main" id="{FF69082D-05A8-40BE-9FCC-65C0EC46F07E}"/>
              </a:ext>
            </a:extLst>
          </p:cNvPr>
          <p:cNvSpPr txBox="1"/>
          <p:nvPr/>
        </p:nvSpPr>
        <p:spPr>
          <a:xfrm>
            <a:off x="365761" y="1421536"/>
            <a:ext cx="5510528" cy="35548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lvl="1" indent="-228600">
              <a:buClr>
                <a:schemeClr val="accent1">
                  <a:lumMod val="100000"/>
                </a:schemeClr>
              </a:buClr>
              <a:buSzPct val="100000"/>
              <a:buFont typeface="Wingdings" panose="05000000000000000000" pitchFamily="2" charset="2"/>
              <a:buChar char="§"/>
            </a:pPr>
            <a:r>
              <a:rPr lang="de-DE" b="1" dirty="0">
                <a:latin typeface="Segoe UI Light" panose="020B0502040204020203" pitchFamily="34" charset="0"/>
                <a:cs typeface="Segoe UI Light" panose="020B0502040204020203" pitchFamily="34" charset="0"/>
              </a:rPr>
              <a:t>Fokus auf Diensterreichbarkeit</a:t>
            </a:r>
          </a:p>
          <a:p>
            <a:pPr marL="685800" lvl="2" indent="-228600">
              <a:buClr>
                <a:schemeClr val="accent1">
                  <a:lumMod val="100000"/>
                </a:schemeClr>
              </a:buClr>
              <a:buSzPct val="100000"/>
              <a:buFont typeface="Wingdings" panose="05000000000000000000" pitchFamily="2" charset="2"/>
              <a:buChar char="§"/>
            </a:pPr>
            <a:r>
              <a:rPr lang="de-DE" sz="1700" dirty="0">
                <a:latin typeface="Segoe UI Light" panose="020B0502040204020203" pitchFamily="34" charset="0"/>
                <a:cs typeface="Segoe UI Light" panose="020B0502040204020203" pitchFamily="34" charset="0"/>
              </a:rPr>
              <a:t>Antwort eines Endpunkts wird überprüft</a:t>
            </a:r>
          </a:p>
          <a:p>
            <a:pPr marL="685800" lvl="2" indent="-228600">
              <a:buClr>
                <a:schemeClr val="accent1">
                  <a:lumMod val="100000"/>
                </a:schemeClr>
              </a:buClr>
              <a:buSzPct val="100000"/>
              <a:buFont typeface="Wingdings" panose="05000000000000000000" pitchFamily="2" charset="2"/>
              <a:buChar char="§"/>
            </a:pPr>
            <a:r>
              <a:rPr lang="de-DE" sz="1700" dirty="0">
                <a:latin typeface="Segoe UI Light" panose="020B0502040204020203" pitchFamily="34" charset="0"/>
                <a:cs typeface="Segoe UI Light" panose="020B0502040204020203" pitchFamily="34" charset="0"/>
              </a:rPr>
              <a:t>Endpunktüberwachung aus Serversicht</a:t>
            </a:r>
            <a:br>
              <a:rPr lang="de-DE" sz="1700" dirty="0"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de-DE" sz="17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</a:p>
          <a:p>
            <a:pPr marL="228600" lvl="1" indent="-228600">
              <a:buClr>
                <a:schemeClr val="accent1">
                  <a:lumMod val="100000"/>
                </a:schemeClr>
              </a:buClr>
              <a:buSzPct val="100000"/>
              <a:buFont typeface="Wingdings" panose="05000000000000000000" pitchFamily="2" charset="2"/>
              <a:buChar char="§"/>
            </a:pPr>
            <a:r>
              <a:rPr lang="de-DE" b="1" dirty="0">
                <a:latin typeface="Segoe UI Light" panose="020B0502040204020203" pitchFamily="34" charset="0"/>
                <a:cs typeface="Segoe UI Light" panose="020B0502040204020203" pitchFamily="34" charset="0"/>
              </a:rPr>
              <a:t>Überwachung über Standardprotokolle</a:t>
            </a:r>
          </a:p>
          <a:p>
            <a:pPr marL="685800" lvl="2" indent="-228600">
              <a:buClr>
                <a:schemeClr val="accent1">
                  <a:lumMod val="100000"/>
                </a:schemeClr>
              </a:buClr>
              <a:buSzPct val="100000"/>
              <a:buFont typeface="Wingdings" panose="05000000000000000000" pitchFamily="2" charset="2"/>
              <a:buChar char="§"/>
            </a:pPr>
            <a:r>
              <a:rPr lang="de-DE" sz="1700" dirty="0">
                <a:latin typeface="Segoe UI Light" panose="020B0502040204020203" pitchFamily="34" charset="0"/>
                <a:cs typeface="Segoe UI Light" panose="020B0502040204020203" pitchFamily="34" charset="0"/>
              </a:rPr>
              <a:t>SNMP, WMI</a:t>
            </a:r>
            <a:br>
              <a:rPr lang="de-DE" sz="1700" dirty="0"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endParaRPr lang="de-DE" sz="17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228600" lvl="1" indent="-228600">
              <a:buClr>
                <a:schemeClr val="accent1">
                  <a:lumMod val="100000"/>
                </a:schemeClr>
              </a:buClr>
              <a:buSzPct val="100000"/>
              <a:buFont typeface="Wingdings" panose="05000000000000000000" pitchFamily="2" charset="2"/>
              <a:buChar char="§"/>
            </a:pPr>
            <a:r>
              <a:rPr lang="de-DE" b="1" dirty="0">
                <a:latin typeface="Segoe UI Light" panose="020B0502040204020203" pitchFamily="34" charset="0"/>
                <a:cs typeface="Segoe UI Light" panose="020B0502040204020203" pitchFamily="34" charset="0"/>
              </a:rPr>
              <a:t>Überwachung der Betriebssysteme</a:t>
            </a:r>
          </a:p>
          <a:p>
            <a:pPr marL="685800" lvl="2" indent="-228600">
              <a:buClr>
                <a:schemeClr val="accent1">
                  <a:lumMod val="100000"/>
                </a:schemeClr>
              </a:buClr>
              <a:buSzPct val="100000"/>
              <a:buFont typeface="Wingdings" panose="05000000000000000000" pitchFamily="2" charset="2"/>
              <a:buChar char="§"/>
            </a:pPr>
            <a:r>
              <a:rPr lang="de-DE" sz="1700" dirty="0">
                <a:latin typeface="Segoe UI Light" panose="020B0502040204020203" pitchFamily="34" charset="0"/>
                <a:cs typeface="Segoe UI Light" panose="020B0502040204020203" pitchFamily="34" charset="0"/>
              </a:rPr>
              <a:t>CPU, RAM, Disk, Netzwerk</a:t>
            </a:r>
            <a:br>
              <a:rPr lang="de-DE" sz="1700" dirty="0"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endParaRPr lang="de-DE" sz="17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228600" lvl="1" indent="-228600">
              <a:buClr>
                <a:schemeClr val="accent1">
                  <a:lumMod val="100000"/>
                </a:schemeClr>
              </a:buClr>
              <a:buSzPct val="100000"/>
              <a:buFont typeface="Wingdings" panose="05000000000000000000" pitchFamily="2" charset="2"/>
              <a:buChar char="§"/>
            </a:pPr>
            <a:r>
              <a:rPr lang="de-DE" b="1" dirty="0">
                <a:latin typeface="Segoe UI Light" panose="020B0502040204020203" pitchFamily="34" charset="0"/>
                <a:cs typeface="Segoe UI Light" panose="020B0502040204020203" pitchFamily="34" charset="0"/>
              </a:rPr>
              <a:t>Fehlende Kenntnis der Applikationsanforderungen</a:t>
            </a:r>
          </a:p>
          <a:p>
            <a:pPr marL="685800" lvl="2" indent="-228600">
              <a:buClr>
                <a:schemeClr val="accent1">
                  <a:lumMod val="100000"/>
                </a:schemeClr>
              </a:buClr>
              <a:buSzPct val="100000"/>
              <a:buFont typeface="Wingdings" panose="05000000000000000000" pitchFamily="2" charset="2"/>
              <a:buChar char="§"/>
            </a:pPr>
            <a:r>
              <a:rPr lang="de-DE" sz="1700" dirty="0">
                <a:latin typeface="Segoe UI Light" panose="020B0502040204020203" pitchFamily="34" charset="0"/>
                <a:cs typeface="Segoe UI Light" panose="020B0502040204020203" pitchFamily="34" charset="0"/>
              </a:rPr>
              <a:t>Abfrage von Statuscodes von Webendpunkte</a:t>
            </a:r>
          </a:p>
          <a:p>
            <a:pPr marL="685800" lvl="2" indent="-228600">
              <a:buClr>
                <a:schemeClr val="accent1">
                  <a:lumMod val="100000"/>
                </a:schemeClr>
              </a:buClr>
              <a:buSzPct val="100000"/>
              <a:buFont typeface="Wingdings" panose="05000000000000000000" pitchFamily="2" charset="2"/>
              <a:buChar char="§"/>
            </a:pPr>
            <a:endParaRPr lang="de-DE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15EADBFF-D3F6-4036-A407-C241B1589D8F}"/>
              </a:ext>
            </a:extLst>
          </p:cNvPr>
          <p:cNvGrpSpPr/>
          <p:nvPr/>
        </p:nvGrpSpPr>
        <p:grpSpPr>
          <a:xfrm>
            <a:off x="6350256" y="1346407"/>
            <a:ext cx="5413433" cy="4778690"/>
            <a:chOff x="6350256" y="1346407"/>
            <a:chExt cx="5413433" cy="4778690"/>
          </a:xfrm>
        </p:grpSpPr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A16B9284-6FC7-4CC2-81C6-6E5353B3D94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11033248" y="3410532"/>
              <a:ext cx="730441" cy="766367"/>
            </a:xfrm>
            <a:prstGeom prst="rect">
              <a:avLst/>
            </a:prstGeom>
          </p:spPr>
        </p:pic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576EC531-DB65-47FC-9EB7-BEBAF872B4A6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10453127" y="4808288"/>
              <a:ext cx="785918" cy="757133"/>
            </a:xfrm>
            <a:prstGeom prst="rect">
              <a:avLst/>
            </a:prstGeom>
          </p:spPr>
        </p:pic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0B33C06D-80C5-4D87-B34F-2F9F7320500B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10453127" y="2236834"/>
              <a:ext cx="674965" cy="784833"/>
            </a:xfrm>
            <a:prstGeom prst="rect">
              <a:avLst/>
            </a:prstGeom>
          </p:spPr>
        </p:pic>
        <p:pic>
          <p:nvPicPr>
            <p:cNvPr id="17" name="Grafik 16">
              <a:extLst>
                <a:ext uri="{FF2B5EF4-FFF2-40B4-BE49-F238E27FC236}">
                  <a16:creationId xmlns:a16="http://schemas.microsoft.com/office/drawing/2014/main" id="{F75229E3-F5C1-4CDB-8B38-3A0395381E78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8844468" y="1346407"/>
              <a:ext cx="619488" cy="775600"/>
            </a:xfrm>
            <a:prstGeom prst="rect">
              <a:avLst/>
            </a:prstGeom>
          </p:spPr>
        </p:pic>
        <p:pic>
          <p:nvPicPr>
            <p:cNvPr id="18" name="Grafik 17">
              <a:extLst>
                <a:ext uri="{FF2B5EF4-FFF2-40B4-BE49-F238E27FC236}">
                  <a16:creationId xmlns:a16="http://schemas.microsoft.com/office/drawing/2014/main" id="{E5CEF050-BE94-4CAF-9DC1-C6BEAA437256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8844468" y="5367964"/>
              <a:ext cx="776672" cy="757133"/>
            </a:xfrm>
            <a:prstGeom prst="rect">
              <a:avLst/>
            </a:prstGeom>
          </p:spPr>
        </p:pic>
        <p:pic>
          <p:nvPicPr>
            <p:cNvPr id="19" name="Grafik 18">
              <a:extLst>
                <a:ext uri="{FF2B5EF4-FFF2-40B4-BE49-F238E27FC236}">
                  <a16:creationId xmlns:a16="http://schemas.microsoft.com/office/drawing/2014/main" id="{09C11F70-D4D3-4304-ABB5-0CF474573899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6350256" y="3382833"/>
              <a:ext cx="721195" cy="775600"/>
            </a:xfrm>
            <a:prstGeom prst="rect">
              <a:avLst/>
            </a:prstGeom>
          </p:spPr>
        </p:pic>
        <p:pic>
          <p:nvPicPr>
            <p:cNvPr id="20" name="Grafik 19">
              <a:extLst>
                <a:ext uri="{FF2B5EF4-FFF2-40B4-BE49-F238E27FC236}">
                  <a16:creationId xmlns:a16="http://schemas.microsoft.com/office/drawing/2014/main" id="{06BEE910-E6C4-4FE5-A6D3-BF9A957FA326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7394727" y="2236834"/>
              <a:ext cx="628734" cy="766367"/>
            </a:xfrm>
            <a:prstGeom prst="rect">
              <a:avLst/>
            </a:prstGeom>
          </p:spPr>
        </p:pic>
        <p:pic>
          <p:nvPicPr>
            <p:cNvPr id="23" name="Grafik 22">
              <a:extLst>
                <a:ext uri="{FF2B5EF4-FFF2-40B4-BE49-F238E27FC236}">
                  <a16:creationId xmlns:a16="http://schemas.microsoft.com/office/drawing/2014/main" id="{3924F572-32DF-40D4-B4CF-7A3DAF851A53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7394727" y="4808288"/>
              <a:ext cx="656473" cy="775600"/>
            </a:xfrm>
            <a:prstGeom prst="rect">
              <a:avLst/>
            </a:prstGeom>
          </p:spPr>
        </p:pic>
        <p:cxnSp>
          <p:nvCxnSpPr>
            <p:cNvPr id="26" name="Gerade Verbindung mit Pfeil 25">
              <a:extLst>
                <a:ext uri="{FF2B5EF4-FFF2-40B4-BE49-F238E27FC236}">
                  <a16:creationId xmlns:a16="http://schemas.microsoft.com/office/drawing/2014/main" id="{07E7356A-34E4-4C93-BC48-81E44DCC3D13}"/>
                </a:ext>
              </a:extLst>
            </p:cNvPr>
            <p:cNvCxnSpPr/>
            <p:nvPr/>
          </p:nvCxnSpPr>
          <p:spPr>
            <a:xfrm flipH="1">
              <a:off x="7196959" y="3853206"/>
              <a:ext cx="1561229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mit Pfeil 26">
              <a:extLst>
                <a:ext uri="{FF2B5EF4-FFF2-40B4-BE49-F238E27FC236}">
                  <a16:creationId xmlns:a16="http://schemas.microsoft.com/office/drawing/2014/main" id="{2D21E491-D536-4326-AB3F-AFBB701BEF58}"/>
                </a:ext>
              </a:extLst>
            </p:cNvPr>
            <p:cNvCxnSpPr>
              <a:cxnSpLocks/>
            </p:cNvCxnSpPr>
            <p:nvPr/>
          </p:nvCxnSpPr>
          <p:spPr>
            <a:xfrm>
              <a:off x="9538803" y="3853206"/>
              <a:ext cx="1418231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mit Pfeil 29">
              <a:extLst>
                <a:ext uri="{FF2B5EF4-FFF2-40B4-BE49-F238E27FC236}">
                  <a16:creationId xmlns:a16="http://schemas.microsoft.com/office/drawing/2014/main" id="{50F855E6-3E1D-4EA6-BEFE-C5261D8C9B56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9052505" y="2236834"/>
              <a:ext cx="1" cy="107509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mit Pfeil 31">
              <a:extLst>
                <a:ext uri="{FF2B5EF4-FFF2-40B4-BE49-F238E27FC236}">
                  <a16:creationId xmlns:a16="http://schemas.microsoft.com/office/drawing/2014/main" id="{ECA0225F-8207-48F8-A59C-BD581BABE0B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040508" y="4367019"/>
              <a:ext cx="13956" cy="1000945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mit Pfeil 33">
              <a:extLst>
                <a:ext uri="{FF2B5EF4-FFF2-40B4-BE49-F238E27FC236}">
                  <a16:creationId xmlns:a16="http://schemas.microsoft.com/office/drawing/2014/main" id="{45591359-6CFD-4808-B379-C78BD414DE8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346823" y="2774379"/>
              <a:ext cx="927206" cy="654621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mit Pfeil 35">
              <a:extLst>
                <a:ext uri="{FF2B5EF4-FFF2-40B4-BE49-F238E27FC236}">
                  <a16:creationId xmlns:a16="http://schemas.microsoft.com/office/drawing/2014/main" id="{010B75FB-7537-43C4-AB2C-91B8A7AD1487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8051200" y="2948279"/>
              <a:ext cx="703721" cy="537545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mit Pfeil 37">
              <a:extLst>
                <a:ext uri="{FF2B5EF4-FFF2-40B4-BE49-F238E27FC236}">
                  <a16:creationId xmlns:a16="http://schemas.microsoft.com/office/drawing/2014/main" id="{1EDEBA4E-DC21-4100-B4A4-D2B265A5EA5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013093" y="4292141"/>
              <a:ext cx="780830" cy="729176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mit Pfeil 39">
              <a:extLst>
                <a:ext uri="{FF2B5EF4-FFF2-40B4-BE49-F238E27FC236}">
                  <a16:creationId xmlns:a16="http://schemas.microsoft.com/office/drawing/2014/main" id="{250C2DDF-8578-4808-A9E2-86D98D2AC013}"/>
                </a:ext>
              </a:extLst>
            </p:cNvPr>
            <p:cNvCxnSpPr>
              <a:cxnSpLocks/>
            </p:cNvCxnSpPr>
            <p:nvPr/>
          </p:nvCxnSpPr>
          <p:spPr>
            <a:xfrm>
              <a:off x="9424718" y="4331260"/>
              <a:ext cx="935592" cy="6124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18092835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7451" y="5996416"/>
            <a:ext cx="1756524" cy="1171015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9505" y="6223347"/>
            <a:ext cx="1400751" cy="700376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994" y="6444768"/>
            <a:ext cx="1097238" cy="27431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29859" y="1218723"/>
            <a:ext cx="11774638" cy="688925"/>
          </a:xfrm>
        </p:spPr>
        <p:txBody>
          <a:bodyPr>
            <a:normAutofit/>
          </a:bodyPr>
          <a:lstStyle/>
          <a:p>
            <a:pPr algn="l"/>
            <a:r>
              <a:rPr lang="de-DE" sz="3600" dirty="0"/>
              <a:t>Die Lösung zur Anwendungsüberwachung</a:t>
            </a:r>
          </a:p>
        </p:txBody>
      </p:sp>
      <p:pic>
        <p:nvPicPr>
          <p:cNvPr id="13" name="Grafik 12" descr="Ein Bild, das Objekt enthält.&#10;&#10;Mit hoher Zuverlässigkeit generierte Beschreibung">
            <a:extLst>
              <a:ext uri="{FF2B5EF4-FFF2-40B4-BE49-F238E27FC236}">
                <a16:creationId xmlns:a16="http://schemas.microsoft.com/office/drawing/2014/main" id="{E5AA72CE-8D17-4FBE-B09F-3FB0C215A16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9094" y="6318652"/>
            <a:ext cx="1049094" cy="431555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36FF77F4-36EF-4017-AB71-867871747EB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7675" y="6343150"/>
            <a:ext cx="2116822" cy="527882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A195C9F0-6D6D-40FF-A7A7-FFBE0258047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048" y="315357"/>
            <a:ext cx="2223164" cy="779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586204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7451" y="5996416"/>
            <a:ext cx="1756524" cy="1171015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9505" y="6223347"/>
            <a:ext cx="1400751" cy="700376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994" y="6444768"/>
            <a:ext cx="1097238" cy="274310"/>
          </a:xfrm>
          <a:prstGeom prst="rect">
            <a:avLst/>
          </a:prstGeom>
        </p:spPr>
      </p:pic>
      <p:pic>
        <p:nvPicPr>
          <p:cNvPr id="13" name="Grafik 12" descr="Ein Bild, das Objekt enthält.&#10;&#10;Mit hoher Zuverlässigkeit generierte Beschreibung">
            <a:extLst>
              <a:ext uri="{FF2B5EF4-FFF2-40B4-BE49-F238E27FC236}">
                <a16:creationId xmlns:a16="http://schemas.microsoft.com/office/drawing/2014/main" id="{E5AA72CE-8D17-4FBE-B09F-3FB0C215A16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9094" y="6318652"/>
            <a:ext cx="1049094" cy="431555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36FF77F4-36EF-4017-AB71-867871747EB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7675" y="6343150"/>
            <a:ext cx="2116822" cy="527882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6D0B10B2-C374-4192-88DA-CFF82B9A956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048" y="315357"/>
            <a:ext cx="2223164" cy="779950"/>
          </a:xfrm>
          <a:prstGeom prst="rect">
            <a:avLst/>
          </a:prstGeom>
        </p:spPr>
      </p:pic>
      <p:sp>
        <p:nvSpPr>
          <p:cNvPr id="14" name="Titel 1">
            <a:extLst>
              <a:ext uri="{FF2B5EF4-FFF2-40B4-BE49-F238E27FC236}">
                <a16:creationId xmlns:a16="http://schemas.microsoft.com/office/drawing/2014/main" id="{F2CD2A51-0F8F-4617-BD22-C4A2B0C6256C}"/>
              </a:ext>
            </a:extLst>
          </p:cNvPr>
          <p:cNvSpPr txBox="1">
            <a:spLocks/>
          </p:cNvSpPr>
          <p:nvPr/>
        </p:nvSpPr>
        <p:spPr>
          <a:xfrm>
            <a:off x="2698506" y="315357"/>
            <a:ext cx="9144000" cy="68892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rgbClr val="00B0F0"/>
                </a:solidFill>
                <a:latin typeface="Segoe UI Light" panose="020B0502040204020203" pitchFamily="34" charset="0"/>
                <a:ea typeface="+mj-ea"/>
                <a:cs typeface="Segoe UI Light" panose="020B0502040204020203" pitchFamily="34" charset="0"/>
              </a:defRPr>
            </a:lvl1pPr>
          </a:lstStyle>
          <a:p>
            <a:pPr algn="l"/>
            <a:r>
              <a:rPr lang="de-DE" sz="3600" dirty="0"/>
              <a:t>Moderne Anwendungsüberwachung</a:t>
            </a:r>
          </a:p>
        </p:txBody>
      </p:sp>
      <p:pic>
        <p:nvPicPr>
          <p:cNvPr id="9" name="Picture 9" descr="A screen shot of a computer&#10;&#10;Description generated with very high confidence">
            <a:extLst>
              <a:ext uri="{FF2B5EF4-FFF2-40B4-BE49-F238E27FC236}">
                <a16:creationId xmlns:a16="http://schemas.microsoft.com/office/drawing/2014/main" id="{C6961A91-BDAB-40BA-A762-049EC381DF18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-129" t="4804" b="-4626"/>
          <a:stretch/>
        </p:blipFill>
        <p:spPr>
          <a:xfrm>
            <a:off x="1666170" y="659819"/>
            <a:ext cx="8859659" cy="63794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684093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7451" y="5996416"/>
            <a:ext cx="1756524" cy="1171015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9505" y="6223347"/>
            <a:ext cx="1400751" cy="700376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994" y="6444768"/>
            <a:ext cx="1097238" cy="274310"/>
          </a:xfrm>
          <a:prstGeom prst="rect">
            <a:avLst/>
          </a:prstGeom>
        </p:spPr>
      </p:pic>
      <p:pic>
        <p:nvPicPr>
          <p:cNvPr id="13" name="Grafik 12" descr="Ein Bild, das Objekt enthält.&#10;&#10;Mit hoher Zuverlässigkeit generierte Beschreibung">
            <a:extLst>
              <a:ext uri="{FF2B5EF4-FFF2-40B4-BE49-F238E27FC236}">
                <a16:creationId xmlns:a16="http://schemas.microsoft.com/office/drawing/2014/main" id="{E5AA72CE-8D17-4FBE-B09F-3FB0C215A16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9094" y="6318652"/>
            <a:ext cx="1049094" cy="431555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36FF77F4-36EF-4017-AB71-867871747EB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7675" y="6343150"/>
            <a:ext cx="2116822" cy="527882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6D0B10B2-C374-4192-88DA-CFF82B9A956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048" y="315357"/>
            <a:ext cx="2223164" cy="779950"/>
          </a:xfrm>
          <a:prstGeom prst="rect">
            <a:avLst/>
          </a:prstGeom>
        </p:spPr>
      </p:pic>
      <p:sp>
        <p:nvSpPr>
          <p:cNvPr id="14" name="Titel 1">
            <a:extLst>
              <a:ext uri="{FF2B5EF4-FFF2-40B4-BE49-F238E27FC236}">
                <a16:creationId xmlns:a16="http://schemas.microsoft.com/office/drawing/2014/main" id="{F2CD2A51-0F8F-4617-BD22-C4A2B0C6256C}"/>
              </a:ext>
            </a:extLst>
          </p:cNvPr>
          <p:cNvSpPr txBox="1">
            <a:spLocks/>
          </p:cNvSpPr>
          <p:nvPr/>
        </p:nvSpPr>
        <p:spPr>
          <a:xfrm>
            <a:off x="2698506" y="315357"/>
            <a:ext cx="9144000" cy="68892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rgbClr val="00B0F0"/>
                </a:solidFill>
                <a:latin typeface="Segoe UI Light" panose="020B0502040204020203" pitchFamily="34" charset="0"/>
                <a:ea typeface="+mj-ea"/>
                <a:cs typeface="Segoe UI Light" panose="020B0502040204020203" pitchFamily="34" charset="0"/>
              </a:defRPr>
            </a:lvl1pPr>
          </a:lstStyle>
          <a:p>
            <a:pPr algn="l"/>
            <a:r>
              <a:rPr lang="de-DE" sz="3600" dirty="0"/>
              <a:t>Wer ist ENow?</a:t>
            </a:r>
          </a:p>
        </p:txBody>
      </p:sp>
      <p:sp>
        <p:nvSpPr>
          <p:cNvPr id="10" name="TextBox 6">
            <a:extLst>
              <a:ext uri="{FF2B5EF4-FFF2-40B4-BE49-F238E27FC236}">
                <a16:creationId xmlns:a16="http://schemas.microsoft.com/office/drawing/2014/main" id="{830CE5D2-DFD2-4028-8B5C-16BFCEA086DE}"/>
              </a:ext>
            </a:extLst>
          </p:cNvPr>
          <p:cNvSpPr txBox="1"/>
          <p:nvPr/>
        </p:nvSpPr>
        <p:spPr>
          <a:xfrm>
            <a:off x="1810247" y="1434612"/>
            <a:ext cx="320565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>
                <a:latin typeface="Segoe UI Light" panose="020B0502040204020203" pitchFamily="34" charset="0"/>
                <a:cs typeface="Segoe UI Light" panose="020B0502040204020203" pitchFamily="34" charset="0"/>
              </a:rPr>
              <a:t>Gegründet 2004</a:t>
            </a:r>
            <a:endParaRPr lang="de-DE" sz="20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11" name="Graphic 7" descr="Checkmark">
            <a:extLst>
              <a:ext uri="{FF2B5EF4-FFF2-40B4-BE49-F238E27FC236}">
                <a16:creationId xmlns:a16="http://schemas.microsoft.com/office/drawing/2014/main" id="{3C06FB82-4FBC-4AB7-9FE5-090A8E28D908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61064" y="2415157"/>
            <a:ext cx="457200" cy="457200"/>
          </a:xfrm>
          <a:prstGeom prst="rect">
            <a:avLst/>
          </a:prstGeom>
        </p:spPr>
      </p:pic>
      <p:pic>
        <p:nvPicPr>
          <p:cNvPr id="16" name="Graphic 8" descr="Checkmark">
            <a:extLst>
              <a:ext uri="{FF2B5EF4-FFF2-40B4-BE49-F238E27FC236}">
                <a16:creationId xmlns:a16="http://schemas.microsoft.com/office/drawing/2014/main" id="{3730A324-D5A1-42D3-9C75-0FA5701080EB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61064" y="1411448"/>
            <a:ext cx="457200" cy="457200"/>
          </a:xfrm>
          <a:prstGeom prst="rect">
            <a:avLst/>
          </a:prstGeom>
        </p:spPr>
      </p:pic>
      <p:pic>
        <p:nvPicPr>
          <p:cNvPr id="17" name="Graphic 9" descr="Checkmark">
            <a:extLst>
              <a:ext uri="{FF2B5EF4-FFF2-40B4-BE49-F238E27FC236}">
                <a16:creationId xmlns:a16="http://schemas.microsoft.com/office/drawing/2014/main" id="{6252B551-9B1B-480D-96BC-576CFB90A44D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35302" y="3418865"/>
            <a:ext cx="457200" cy="457200"/>
          </a:xfrm>
          <a:prstGeom prst="rect">
            <a:avLst/>
          </a:prstGeom>
        </p:spPr>
      </p:pic>
      <p:pic>
        <p:nvPicPr>
          <p:cNvPr id="18" name="Graphic 10" descr="Checkmark">
            <a:extLst>
              <a:ext uri="{FF2B5EF4-FFF2-40B4-BE49-F238E27FC236}">
                <a16:creationId xmlns:a16="http://schemas.microsoft.com/office/drawing/2014/main" id="{4D05E715-4C4B-4CE8-86CE-8F4D804598BA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61064" y="4422574"/>
            <a:ext cx="457200" cy="457200"/>
          </a:xfrm>
          <a:prstGeom prst="rect">
            <a:avLst/>
          </a:prstGeom>
        </p:spPr>
      </p:pic>
      <p:sp>
        <p:nvSpPr>
          <p:cNvPr id="19" name="TextBox 11">
            <a:extLst>
              <a:ext uri="{FF2B5EF4-FFF2-40B4-BE49-F238E27FC236}">
                <a16:creationId xmlns:a16="http://schemas.microsoft.com/office/drawing/2014/main" id="{BE87F903-2E2C-41D6-A934-FBF057C6BBB1}"/>
              </a:ext>
            </a:extLst>
          </p:cNvPr>
          <p:cNvSpPr txBox="1"/>
          <p:nvPr/>
        </p:nvSpPr>
        <p:spPr>
          <a:xfrm>
            <a:off x="1810247" y="4422574"/>
            <a:ext cx="320565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>
                <a:latin typeface="Segoe UI Light" panose="020B0502040204020203" pitchFamily="34" charset="0"/>
                <a:cs typeface="Segoe UI Light" panose="020B0502040204020203" pitchFamily="34" charset="0"/>
              </a:rPr>
              <a:t>Deloitte Fast 500 in 2016</a:t>
            </a:r>
            <a:endParaRPr lang="de-DE" sz="20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0" name="TextBox 12">
            <a:extLst>
              <a:ext uri="{FF2B5EF4-FFF2-40B4-BE49-F238E27FC236}">
                <a16:creationId xmlns:a16="http://schemas.microsoft.com/office/drawing/2014/main" id="{6AFC4B6B-BB5A-425A-A342-D8170BBA398D}"/>
              </a:ext>
            </a:extLst>
          </p:cNvPr>
          <p:cNvSpPr txBox="1"/>
          <p:nvPr/>
        </p:nvSpPr>
        <p:spPr>
          <a:xfrm>
            <a:off x="1810247" y="3412634"/>
            <a:ext cx="320565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>
                <a:latin typeface="Segoe UI Light" panose="020B0502040204020203" pitchFamily="34" charset="0"/>
                <a:cs typeface="Segoe UI Light" panose="020B0502040204020203" pitchFamily="34" charset="0"/>
              </a:rPr>
              <a:t>3 Jahre in Folge Inc 5000 nominiert</a:t>
            </a:r>
          </a:p>
        </p:txBody>
      </p:sp>
      <p:sp>
        <p:nvSpPr>
          <p:cNvPr id="21" name="TextBox 13">
            <a:extLst>
              <a:ext uri="{FF2B5EF4-FFF2-40B4-BE49-F238E27FC236}">
                <a16:creationId xmlns:a16="http://schemas.microsoft.com/office/drawing/2014/main" id="{D218C37B-80D7-4227-B7A3-5CC3F0B283C8}"/>
              </a:ext>
            </a:extLst>
          </p:cNvPr>
          <p:cNvSpPr txBox="1"/>
          <p:nvPr/>
        </p:nvSpPr>
        <p:spPr>
          <a:xfrm>
            <a:off x="1810247" y="2289814"/>
            <a:ext cx="320565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>
                <a:latin typeface="Segoe UI Light" panose="020B0502040204020203" pitchFamily="34" charset="0"/>
                <a:cs typeface="Segoe UI Light" panose="020B0502040204020203" pitchFamily="34" charset="0"/>
              </a:rPr>
              <a:t>Microsoft Gold Independent Software Vendor</a:t>
            </a:r>
          </a:p>
        </p:txBody>
      </p:sp>
      <p:sp>
        <p:nvSpPr>
          <p:cNvPr id="22" name="TextBox 14">
            <a:extLst>
              <a:ext uri="{FF2B5EF4-FFF2-40B4-BE49-F238E27FC236}">
                <a16:creationId xmlns:a16="http://schemas.microsoft.com/office/drawing/2014/main" id="{8DFA3FF4-CF6C-4700-9F3F-0DDF2DB92BA2}"/>
              </a:ext>
            </a:extLst>
          </p:cNvPr>
          <p:cNvSpPr txBox="1"/>
          <p:nvPr/>
        </p:nvSpPr>
        <p:spPr>
          <a:xfrm>
            <a:off x="7741147" y="1280724"/>
            <a:ext cx="328731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dirty="0">
                <a:latin typeface="Segoe UI Light" panose="020B0502040204020203" pitchFamily="34" charset="0"/>
                <a:cs typeface="Segoe UI Light" panose="020B0502040204020203" pitchFamily="34" charset="0"/>
              </a:rPr>
              <a:t>Software entworfen von MVPs und MCMs</a:t>
            </a:r>
          </a:p>
        </p:txBody>
      </p:sp>
      <p:pic>
        <p:nvPicPr>
          <p:cNvPr id="23" name="Graphic 15" descr="Checkmark">
            <a:extLst>
              <a:ext uri="{FF2B5EF4-FFF2-40B4-BE49-F238E27FC236}">
                <a16:creationId xmlns:a16="http://schemas.microsoft.com/office/drawing/2014/main" id="{FE998C25-0062-4774-B0E2-3CDB974B8D4C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891964" y="2415157"/>
            <a:ext cx="457200" cy="457200"/>
          </a:xfrm>
          <a:prstGeom prst="rect">
            <a:avLst/>
          </a:prstGeom>
        </p:spPr>
      </p:pic>
      <p:pic>
        <p:nvPicPr>
          <p:cNvPr id="24" name="Graphic 16" descr="Checkmark">
            <a:extLst>
              <a:ext uri="{FF2B5EF4-FFF2-40B4-BE49-F238E27FC236}">
                <a16:creationId xmlns:a16="http://schemas.microsoft.com/office/drawing/2014/main" id="{03433D96-7BCB-484A-9AEA-E5CABB5BBAFA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891964" y="1411448"/>
            <a:ext cx="457200" cy="457200"/>
          </a:xfrm>
          <a:prstGeom prst="rect">
            <a:avLst/>
          </a:prstGeom>
        </p:spPr>
      </p:pic>
      <p:pic>
        <p:nvPicPr>
          <p:cNvPr id="25" name="Graphic 17" descr="Checkmark">
            <a:extLst>
              <a:ext uri="{FF2B5EF4-FFF2-40B4-BE49-F238E27FC236}">
                <a16:creationId xmlns:a16="http://schemas.microsoft.com/office/drawing/2014/main" id="{D7D2DA56-B66A-498D-91AF-A8F65A13618B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866202" y="3418865"/>
            <a:ext cx="457200" cy="457200"/>
          </a:xfrm>
          <a:prstGeom prst="rect">
            <a:avLst/>
          </a:prstGeom>
        </p:spPr>
      </p:pic>
      <p:pic>
        <p:nvPicPr>
          <p:cNvPr id="26" name="Graphic 18" descr="Checkmark">
            <a:extLst>
              <a:ext uri="{FF2B5EF4-FFF2-40B4-BE49-F238E27FC236}">
                <a16:creationId xmlns:a16="http://schemas.microsoft.com/office/drawing/2014/main" id="{D35511B4-B649-4746-B791-AB265E20BBB1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891964" y="4422574"/>
            <a:ext cx="457200" cy="457200"/>
          </a:xfrm>
          <a:prstGeom prst="rect">
            <a:avLst/>
          </a:prstGeom>
        </p:spPr>
      </p:pic>
      <p:sp>
        <p:nvSpPr>
          <p:cNvPr id="27" name="TextBox 19">
            <a:extLst>
              <a:ext uri="{FF2B5EF4-FFF2-40B4-BE49-F238E27FC236}">
                <a16:creationId xmlns:a16="http://schemas.microsoft.com/office/drawing/2014/main" id="{DEFDA8DC-2CFB-4F00-9804-5286071C91F2}"/>
              </a:ext>
            </a:extLst>
          </p:cNvPr>
          <p:cNvSpPr txBox="1"/>
          <p:nvPr/>
        </p:nvSpPr>
        <p:spPr>
          <a:xfrm>
            <a:off x="7697232" y="4422574"/>
            <a:ext cx="320565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>
                <a:latin typeface="Segoe UI Light" panose="020B0502040204020203" pitchFamily="34" charset="0"/>
                <a:cs typeface="Segoe UI Light" panose="020B0502040204020203" pitchFamily="34" charset="0"/>
              </a:rPr>
              <a:t>Kunden in über 130 Ländern</a:t>
            </a:r>
          </a:p>
        </p:txBody>
      </p:sp>
      <p:sp>
        <p:nvSpPr>
          <p:cNvPr id="28" name="TextBox 20">
            <a:extLst>
              <a:ext uri="{FF2B5EF4-FFF2-40B4-BE49-F238E27FC236}">
                <a16:creationId xmlns:a16="http://schemas.microsoft.com/office/drawing/2014/main" id="{02DD437A-D11D-44C8-8539-D458AC90C73B}"/>
              </a:ext>
            </a:extLst>
          </p:cNvPr>
          <p:cNvSpPr txBox="1"/>
          <p:nvPr/>
        </p:nvSpPr>
        <p:spPr>
          <a:xfrm>
            <a:off x="7741147" y="3295143"/>
            <a:ext cx="320565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>
                <a:latin typeface="Segoe UI Light" panose="020B0502040204020203" pitchFamily="34" charset="0"/>
                <a:cs typeface="Segoe UI Light" panose="020B0502040204020203" pitchFamily="34" charset="0"/>
              </a:rPr>
              <a:t>23 Auszeichnungen und Gartner Empfehlungen</a:t>
            </a:r>
          </a:p>
        </p:txBody>
      </p:sp>
      <p:sp>
        <p:nvSpPr>
          <p:cNvPr id="29" name="TextBox 21">
            <a:extLst>
              <a:ext uri="{FF2B5EF4-FFF2-40B4-BE49-F238E27FC236}">
                <a16:creationId xmlns:a16="http://schemas.microsoft.com/office/drawing/2014/main" id="{F8638756-9462-4BE1-97DC-6BB4D83DCDE4}"/>
              </a:ext>
            </a:extLst>
          </p:cNvPr>
          <p:cNvSpPr txBox="1"/>
          <p:nvPr/>
        </p:nvSpPr>
        <p:spPr>
          <a:xfrm>
            <a:off x="7697232" y="2289814"/>
            <a:ext cx="320565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>
                <a:latin typeface="Segoe UI Light" panose="020B0502040204020203" pitchFamily="34" charset="0"/>
                <a:cs typeface="Segoe UI Light" panose="020B0502040204020203" pitchFamily="34" charset="0"/>
              </a:rPr>
              <a:t>Marktführer für Exchange und Office 365 Monitoring</a:t>
            </a:r>
          </a:p>
        </p:txBody>
      </p:sp>
      <p:pic>
        <p:nvPicPr>
          <p:cNvPr id="30" name="Picture 22">
            <a:extLst>
              <a:ext uri="{FF2B5EF4-FFF2-40B4-BE49-F238E27FC236}">
                <a16:creationId xmlns:a16="http://schemas.microsoft.com/office/drawing/2014/main" id="{96EAED32-6B6F-4052-B274-4AF39E619DF0}"/>
              </a:ext>
            </a:extLst>
          </p:cNvPr>
          <p:cNvPicPr>
            <a:picLocks noChangeAspect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9968" y="5236267"/>
            <a:ext cx="873501" cy="616417"/>
          </a:xfrm>
          <a:prstGeom prst="rect">
            <a:avLst/>
          </a:prstGeom>
        </p:spPr>
      </p:pic>
      <p:pic>
        <p:nvPicPr>
          <p:cNvPr id="31" name="Picture 23">
            <a:extLst>
              <a:ext uri="{FF2B5EF4-FFF2-40B4-BE49-F238E27FC236}">
                <a16:creationId xmlns:a16="http://schemas.microsoft.com/office/drawing/2014/main" id="{8742F3FA-52DA-4B48-90D8-0D8E8E3801EA}"/>
              </a:ext>
            </a:extLst>
          </p:cNvPr>
          <p:cNvPicPr>
            <a:picLocks noChangeAspect="1"/>
          </p:cNvPicPr>
          <p:nvPr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37542" y="5236267"/>
            <a:ext cx="750756" cy="616418"/>
          </a:xfrm>
          <a:prstGeom prst="rect">
            <a:avLst/>
          </a:prstGeom>
        </p:spPr>
      </p:pic>
      <p:pic>
        <p:nvPicPr>
          <p:cNvPr id="32" name="Picture 24" descr="http://static2.exclaimer.com/msexchange-readers-choice-award_179x103.png">
            <a:extLst>
              <a:ext uri="{FF2B5EF4-FFF2-40B4-BE49-F238E27FC236}">
                <a16:creationId xmlns:a16="http://schemas.microsoft.com/office/drawing/2014/main" id="{051DADF2-470E-4CC5-877D-29E60BAE58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5577" y="5272841"/>
            <a:ext cx="884044" cy="5086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TextBox 34">
            <a:extLst>
              <a:ext uri="{FF2B5EF4-FFF2-40B4-BE49-F238E27FC236}">
                <a16:creationId xmlns:a16="http://schemas.microsoft.com/office/drawing/2014/main" id="{A445340E-E8DF-4F91-A908-7AA24D80B103}"/>
              </a:ext>
            </a:extLst>
          </p:cNvPr>
          <p:cNvSpPr txBox="1"/>
          <p:nvPr/>
        </p:nvSpPr>
        <p:spPr>
          <a:xfrm>
            <a:off x="4998085" y="5323310"/>
            <a:ext cx="117442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latin typeface="Segoe UI Light" panose="020B0502040204020203" pitchFamily="34" charset="0"/>
                <a:cs typeface="Segoe UI Light" panose="020B0502040204020203" pitchFamily="34" charset="0"/>
              </a:rPr>
              <a:t>Best Exchange </a:t>
            </a:r>
          </a:p>
          <a:p>
            <a:r>
              <a:rPr lang="en-US" sz="1100" dirty="0">
                <a:latin typeface="Segoe UI Light" panose="020B0502040204020203" pitchFamily="34" charset="0"/>
                <a:cs typeface="Segoe UI Light" panose="020B0502040204020203" pitchFamily="34" charset="0"/>
              </a:rPr>
              <a:t>Reporting Tool</a:t>
            </a:r>
          </a:p>
        </p:txBody>
      </p:sp>
      <p:sp>
        <p:nvSpPr>
          <p:cNvPr id="34" name="TextBox 35">
            <a:extLst>
              <a:ext uri="{FF2B5EF4-FFF2-40B4-BE49-F238E27FC236}">
                <a16:creationId xmlns:a16="http://schemas.microsoft.com/office/drawing/2014/main" id="{E68FFE4C-3D50-4B44-8B41-01E234475AD2}"/>
              </a:ext>
            </a:extLst>
          </p:cNvPr>
          <p:cNvSpPr txBox="1"/>
          <p:nvPr/>
        </p:nvSpPr>
        <p:spPr>
          <a:xfrm>
            <a:off x="7071886" y="5350650"/>
            <a:ext cx="117442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latin typeface="Segoe UI Light" panose="020B0502040204020203" pitchFamily="34" charset="0"/>
                <a:cs typeface="Segoe UI Light" panose="020B0502040204020203" pitchFamily="34" charset="0"/>
              </a:rPr>
              <a:t>Best Exchange</a:t>
            </a:r>
            <a:br>
              <a:rPr lang="en-US" sz="1100" dirty="0"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US" sz="1100" dirty="0">
                <a:latin typeface="Segoe UI Light" panose="020B0502040204020203" pitchFamily="34" charset="0"/>
                <a:cs typeface="Segoe UI Light" panose="020B0502040204020203" pitchFamily="34" charset="0"/>
              </a:rPr>
              <a:t>Admin Tool</a:t>
            </a:r>
          </a:p>
        </p:txBody>
      </p:sp>
      <p:pic>
        <p:nvPicPr>
          <p:cNvPr id="35" name="Picture 36" descr="http://static2.exclaimer.com/msexchange-readers-choice-award_179x103.png">
            <a:extLst>
              <a:ext uri="{FF2B5EF4-FFF2-40B4-BE49-F238E27FC236}">
                <a16:creationId xmlns:a16="http://schemas.microsoft.com/office/drawing/2014/main" id="{23D07210-C1B8-407F-8497-5AB8A59676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1351" y="5311745"/>
            <a:ext cx="884044" cy="5086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37" descr="search exchange award">
            <a:extLst>
              <a:ext uri="{FF2B5EF4-FFF2-40B4-BE49-F238E27FC236}">
                <a16:creationId xmlns:a16="http://schemas.microsoft.com/office/drawing/2014/main" id="{8FCA8A6F-824A-436C-BEFA-2E589D3305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06527" y="5263400"/>
            <a:ext cx="601384" cy="6164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38" descr="Best of TechEd - Finalst">
            <a:extLst>
              <a:ext uri="{FF2B5EF4-FFF2-40B4-BE49-F238E27FC236}">
                <a16:creationId xmlns:a16="http://schemas.microsoft.com/office/drawing/2014/main" id="{5645BD83-A248-4405-8C12-763E778787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2289" y="5230543"/>
            <a:ext cx="552312" cy="6164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2700675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7451" y="5996416"/>
            <a:ext cx="1756524" cy="1171015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9505" y="6223347"/>
            <a:ext cx="1400751" cy="700376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994" y="6444768"/>
            <a:ext cx="1097238" cy="274310"/>
          </a:xfrm>
          <a:prstGeom prst="rect">
            <a:avLst/>
          </a:prstGeom>
        </p:spPr>
      </p:pic>
      <p:pic>
        <p:nvPicPr>
          <p:cNvPr id="13" name="Grafik 12" descr="Ein Bild, das Objekt enthält.&#10;&#10;Mit hoher Zuverlässigkeit generierte Beschreibung">
            <a:extLst>
              <a:ext uri="{FF2B5EF4-FFF2-40B4-BE49-F238E27FC236}">
                <a16:creationId xmlns:a16="http://schemas.microsoft.com/office/drawing/2014/main" id="{E5AA72CE-8D17-4FBE-B09F-3FB0C215A16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9094" y="6318652"/>
            <a:ext cx="1049094" cy="431555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36FF77F4-36EF-4017-AB71-867871747EB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7675" y="6343150"/>
            <a:ext cx="2116822" cy="527882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A195C9F0-6D6D-40FF-A7A7-FFBE0258047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048" y="315357"/>
            <a:ext cx="2223164" cy="779950"/>
          </a:xfrm>
          <a:prstGeom prst="rect">
            <a:avLst/>
          </a:prstGeom>
        </p:spPr>
      </p:pic>
      <p:sp>
        <p:nvSpPr>
          <p:cNvPr id="11" name="Inhaltsplatzhalter 12">
            <a:extLst>
              <a:ext uri="{FF2B5EF4-FFF2-40B4-BE49-F238E27FC236}">
                <a16:creationId xmlns:a16="http://schemas.microsoft.com/office/drawing/2014/main" id="{9CD14914-5634-4B10-81E1-CDB4CCEA0CB8}"/>
              </a:ext>
            </a:extLst>
          </p:cNvPr>
          <p:cNvSpPr txBox="1">
            <a:spLocks/>
          </p:cNvSpPr>
          <p:nvPr/>
        </p:nvSpPr>
        <p:spPr>
          <a:xfrm>
            <a:off x="1088589" y="1184344"/>
            <a:ext cx="6620505" cy="472303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2000" b="1"/>
              <a:t>Thomas Stensitzki</a:t>
            </a:r>
            <a:endParaRPr lang="de-DE" b="1"/>
          </a:p>
          <a:p>
            <a:pPr algn="l"/>
            <a:r>
              <a:rPr lang="en-US" sz="2000"/>
              <a:t>Enterprise Consultant | Geschäftsführer</a:t>
            </a:r>
            <a:br>
              <a:rPr lang="en-US" sz="2000">
                <a:cs typeface="Calibri"/>
              </a:rPr>
            </a:br>
            <a:r>
              <a:rPr lang="en-US" sz="2000"/>
              <a:t>Granikos GmbH &amp; Co. KG</a:t>
            </a:r>
            <a:endParaRPr lang="en-US" sz="2000">
              <a:cs typeface="Calibri"/>
            </a:endParaRPr>
          </a:p>
          <a:p>
            <a:pPr algn="l"/>
            <a:r>
              <a:rPr lang="en-US" sz="2000"/>
              <a:t>MVP | Office Apps &amp; Services</a:t>
            </a:r>
            <a:endParaRPr lang="en-US" sz="2000">
              <a:cs typeface="Calibri"/>
            </a:endParaRPr>
          </a:p>
          <a:p>
            <a:pPr algn="l"/>
            <a:endParaRPr lang="en-US" sz="2000"/>
          </a:p>
          <a:p>
            <a:pPr algn="l"/>
            <a:r>
              <a:rPr lang="en-US" sz="2000">
                <a:hlinkClick r:id="rId8" invalidUrl="http://"/>
              </a:rPr>
              <a:t>Thomas.Stensitzki@Granikos.eu</a:t>
            </a:r>
            <a:br>
              <a:rPr lang="en-US" sz="2000">
                <a:cs typeface="Calibri"/>
                <a:hlinkClick r:id="rId9" invalidUrl="http://"/>
              </a:rPr>
            </a:br>
            <a:r>
              <a:rPr lang="en-US" sz="2000"/>
              <a:t>Twitter: @Stensitzki </a:t>
            </a:r>
            <a:endParaRPr lang="en-US" sz="2000">
              <a:cs typeface="Calibri"/>
            </a:endParaRPr>
          </a:p>
          <a:p>
            <a:pPr algn="l"/>
            <a:endParaRPr lang="en-US" sz="2000"/>
          </a:p>
          <a:p>
            <a:pPr algn="l"/>
            <a:r>
              <a:rPr lang="en-US" sz="2000"/>
              <a:t>Blog DE: </a:t>
            </a:r>
            <a:r>
              <a:rPr lang="en-US" sz="2000">
                <a:hlinkClick r:id="rId10"/>
              </a:rPr>
              <a:t>http://Blog.Granikos.eu</a:t>
            </a:r>
            <a:r>
              <a:rPr lang="en-US" sz="2000"/>
              <a:t>  </a:t>
            </a:r>
            <a:endParaRPr lang="en-US" sz="2000">
              <a:cs typeface="Calibri"/>
            </a:endParaRPr>
          </a:p>
          <a:p>
            <a:pPr algn="l"/>
            <a:r>
              <a:rPr lang="en-US" sz="2000"/>
              <a:t>Blog EN: </a:t>
            </a:r>
            <a:r>
              <a:rPr lang="en-US" sz="2000">
                <a:hlinkClick r:id="rId11"/>
              </a:rPr>
              <a:t>http://JustCantGetEnough.Granikos.eu</a:t>
            </a:r>
            <a:r>
              <a:rPr lang="en-US" sz="2000"/>
              <a:t> </a:t>
            </a:r>
            <a:endParaRPr lang="en-US" sz="2000">
              <a:cs typeface="Calibri"/>
            </a:endParaRPr>
          </a:p>
          <a:p>
            <a:pPr algn="l"/>
            <a:endParaRPr lang="en-US" sz="2000" dirty="0"/>
          </a:p>
        </p:txBody>
      </p:sp>
      <p:pic>
        <p:nvPicPr>
          <p:cNvPr id="12" name="Grafik 11" descr="Ein Bild, das Himmel enthält.&#10;&#10;Automatisch generierte Beschreibung">
            <a:extLst>
              <a:ext uri="{FF2B5EF4-FFF2-40B4-BE49-F238E27FC236}">
                <a16:creationId xmlns:a16="http://schemas.microsoft.com/office/drawing/2014/main" id="{48DF4F44-8B59-48DB-9C01-BA23A5FAE61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8705" y="5211883"/>
            <a:ext cx="2289053" cy="923546"/>
          </a:xfrm>
          <a:prstGeom prst="rect">
            <a:avLst/>
          </a:prstGeom>
        </p:spPr>
      </p:pic>
      <p:pic>
        <p:nvPicPr>
          <p:cNvPr id="16" name="Grafik 15" descr="Ein Bild, das Screenshot, Text enthält.&#10;&#10;Automatisch generierte Beschreibung">
            <a:extLst>
              <a:ext uri="{FF2B5EF4-FFF2-40B4-BE49-F238E27FC236}">
                <a16:creationId xmlns:a16="http://schemas.microsoft.com/office/drawing/2014/main" id="{DA10E953-2D1C-4328-B5EC-FF03C6F16CB5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59184" y="1184345"/>
            <a:ext cx="2625725" cy="372834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40773319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7451" y="5996416"/>
            <a:ext cx="1756524" cy="1171015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9505" y="6223347"/>
            <a:ext cx="1400751" cy="700376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994" y="6444768"/>
            <a:ext cx="1097238" cy="274310"/>
          </a:xfrm>
          <a:prstGeom prst="rect">
            <a:avLst/>
          </a:prstGeom>
        </p:spPr>
      </p:pic>
      <p:pic>
        <p:nvPicPr>
          <p:cNvPr id="13" name="Grafik 12" descr="Ein Bild, das Objekt enthält.&#10;&#10;Mit hoher Zuverlässigkeit generierte Beschreibung">
            <a:extLst>
              <a:ext uri="{FF2B5EF4-FFF2-40B4-BE49-F238E27FC236}">
                <a16:creationId xmlns:a16="http://schemas.microsoft.com/office/drawing/2014/main" id="{E5AA72CE-8D17-4FBE-B09F-3FB0C215A16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9094" y="6318652"/>
            <a:ext cx="1049094" cy="431555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36FF77F4-36EF-4017-AB71-867871747EB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7675" y="6343150"/>
            <a:ext cx="2116822" cy="527882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6D0B10B2-C374-4192-88DA-CFF82B9A956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048" y="315357"/>
            <a:ext cx="2223164" cy="779950"/>
          </a:xfrm>
          <a:prstGeom prst="rect">
            <a:avLst/>
          </a:prstGeom>
        </p:spPr>
      </p:pic>
      <p:sp>
        <p:nvSpPr>
          <p:cNvPr id="14" name="Titel 1">
            <a:extLst>
              <a:ext uri="{FF2B5EF4-FFF2-40B4-BE49-F238E27FC236}">
                <a16:creationId xmlns:a16="http://schemas.microsoft.com/office/drawing/2014/main" id="{F2CD2A51-0F8F-4617-BD22-C4A2B0C6256C}"/>
              </a:ext>
            </a:extLst>
          </p:cNvPr>
          <p:cNvSpPr txBox="1">
            <a:spLocks/>
          </p:cNvSpPr>
          <p:nvPr/>
        </p:nvSpPr>
        <p:spPr>
          <a:xfrm>
            <a:off x="2698506" y="315357"/>
            <a:ext cx="9144000" cy="68892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rgbClr val="00B0F0"/>
                </a:solidFill>
                <a:latin typeface="Segoe UI Light" panose="020B0502040204020203" pitchFamily="34" charset="0"/>
                <a:ea typeface="+mj-ea"/>
                <a:cs typeface="Segoe UI Light" panose="020B0502040204020203" pitchFamily="34" charset="0"/>
              </a:defRPr>
            </a:lvl1pPr>
          </a:lstStyle>
          <a:p>
            <a:pPr algn="l"/>
            <a:r>
              <a:rPr lang="de-DE" sz="3600" dirty="0"/>
              <a:t>Wer verwendet ENow Lösungen </a:t>
            </a:r>
          </a:p>
        </p:txBody>
      </p:sp>
      <p:pic>
        <p:nvPicPr>
          <p:cNvPr id="38" name="Picture Placeholder 46">
            <a:extLst>
              <a:ext uri="{FF2B5EF4-FFF2-40B4-BE49-F238E27FC236}">
                <a16:creationId xmlns:a16="http://schemas.microsoft.com/office/drawing/2014/main" id="{B5FBB446-C773-4407-814B-8DA75A2F30F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8298" y="1358368"/>
            <a:ext cx="1029724" cy="1014278"/>
          </a:xfrm>
          <a:prstGeom prst="rect">
            <a:avLst/>
          </a:prstGeom>
        </p:spPr>
      </p:pic>
      <p:pic>
        <p:nvPicPr>
          <p:cNvPr id="39" name="Picture Placeholder 48">
            <a:extLst>
              <a:ext uri="{FF2B5EF4-FFF2-40B4-BE49-F238E27FC236}">
                <a16:creationId xmlns:a16="http://schemas.microsoft.com/office/drawing/2014/main" id="{A81FACB4-F430-433F-8CD4-DD3BAB4D6C9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13191" y="1255646"/>
            <a:ext cx="2588201" cy="1182488"/>
          </a:xfrm>
          <a:prstGeom prst="rect">
            <a:avLst/>
          </a:prstGeom>
        </p:spPr>
      </p:pic>
      <p:pic>
        <p:nvPicPr>
          <p:cNvPr id="40" name="Picture Placeholder 54">
            <a:extLst>
              <a:ext uri="{FF2B5EF4-FFF2-40B4-BE49-F238E27FC236}">
                <a16:creationId xmlns:a16="http://schemas.microsoft.com/office/drawing/2014/main" id="{05C5242A-D0ED-493C-BEEF-345FA795419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68914" y="2922806"/>
            <a:ext cx="3072521" cy="1314753"/>
          </a:xfrm>
          <a:prstGeom prst="rect">
            <a:avLst/>
          </a:prstGeom>
        </p:spPr>
      </p:pic>
      <p:pic>
        <p:nvPicPr>
          <p:cNvPr id="41" name="Picture Placeholder 50">
            <a:extLst>
              <a:ext uri="{FF2B5EF4-FFF2-40B4-BE49-F238E27FC236}">
                <a16:creationId xmlns:a16="http://schemas.microsoft.com/office/drawing/2014/main" id="{1CE932F6-C7FC-4D0D-9461-7748E57DE9BE}"/>
              </a:ext>
            </a:extLst>
          </p:cNvPr>
          <p:cNvPicPr>
            <a:picLocks noChangeAspect="1"/>
          </p:cNvPicPr>
          <p:nvPr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3778" y="3142399"/>
            <a:ext cx="1007605" cy="1007605"/>
          </a:xfrm>
          <a:prstGeom prst="rect">
            <a:avLst/>
          </a:prstGeom>
        </p:spPr>
      </p:pic>
      <p:pic>
        <p:nvPicPr>
          <p:cNvPr id="42" name="Picture Placeholder 44">
            <a:extLst>
              <a:ext uri="{FF2B5EF4-FFF2-40B4-BE49-F238E27FC236}">
                <a16:creationId xmlns:a16="http://schemas.microsoft.com/office/drawing/2014/main" id="{1AA56794-B66E-43B3-AC2B-40E943AE072B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>
            <a:off x="4001372" y="1621184"/>
            <a:ext cx="1187891" cy="588377"/>
          </a:xfrm>
          <a:prstGeom prst="rect">
            <a:avLst/>
          </a:prstGeom>
        </p:spPr>
      </p:pic>
      <p:pic>
        <p:nvPicPr>
          <p:cNvPr id="43" name="Picture Placeholder 42">
            <a:extLst>
              <a:ext uri="{FF2B5EF4-FFF2-40B4-BE49-F238E27FC236}">
                <a16:creationId xmlns:a16="http://schemas.microsoft.com/office/drawing/2014/main" id="{50E8E2DF-3DD0-41CB-ACA5-3A79514B6095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7899" y="1540550"/>
            <a:ext cx="1539296" cy="715952"/>
          </a:xfrm>
          <a:prstGeom prst="rect">
            <a:avLst/>
          </a:prstGeom>
        </p:spPr>
      </p:pic>
      <p:pic>
        <p:nvPicPr>
          <p:cNvPr id="44" name="Picture Placeholder 52">
            <a:extLst>
              <a:ext uri="{FF2B5EF4-FFF2-40B4-BE49-F238E27FC236}">
                <a16:creationId xmlns:a16="http://schemas.microsoft.com/office/drawing/2014/main" id="{100A6A78-428E-489A-AB3A-7805E6070FB6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3909" y="5007478"/>
            <a:ext cx="1799775" cy="5885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</p:pic>
      <p:pic>
        <p:nvPicPr>
          <p:cNvPr id="45" name="Picture Placeholder 56">
            <a:extLst>
              <a:ext uri="{FF2B5EF4-FFF2-40B4-BE49-F238E27FC236}">
                <a16:creationId xmlns:a16="http://schemas.microsoft.com/office/drawing/2014/main" id="{46D78686-E8ED-4125-94DF-DD3E5F350B13}"/>
              </a:ext>
            </a:extLst>
          </p:cNvPr>
          <p:cNvPicPr>
            <a:picLocks noChangeAspect="1"/>
          </p:cNvPicPr>
          <p:nvPr/>
        </p:nvPicPr>
        <p:blipFill>
          <a:blip r:embed="rId1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9408" y="4700603"/>
            <a:ext cx="2100904" cy="114179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</p:pic>
      <p:pic>
        <p:nvPicPr>
          <p:cNvPr id="46" name="Picture 2" descr="Image result for barclays">
            <a:extLst>
              <a:ext uri="{FF2B5EF4-FFF2-40B4-BE49-F238E27FC236}">
                <a16:creationId xmlns:a16="http://schemas.microsoft.com/office/drawing/2014/main" id="{9834BD0F-2FAD-45E2-90AE-9A7BDB3F5C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85686" y="3122983"/>
            <a:ext cx="1406768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Picture 6" descr="Image result for wonderful company transparent logo">
            <a:extLst>
              <a:ext uri="{FF2B5EF4-FFF2-40B4-BE49-F238E27FC236}">
                <a16:creationId xmlns:a16="http://schemas.microsoft.com/office/drawing/2014/main" id="{8EA489B6-E4EA-426C-8539-4477DD7C2B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7899" y="4814300"/>
            <a:ext cx="1697788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8" descr="Image result for vmware logo transparent background">
            <a:extLst>
              <a:ext uri="{FF2B5EF4-FFF2-40B4-BE49-F238E27FC236}">
                <a16:creationId xmlns:a16="http://schemas.microsoft.com/office/drawing/2014/main" id="{C25009B8-F9D0-4CCA-8212-5CA3DC5B004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374" t="16734" r="20652" b="13895"/>
          <a:stretch/>
        </p:blipFill>
        <p:spPr bwMode="auto">
          <a:xfrm>
            <a:off x="6127727" y="4586905"/>
            <a:ext cx="1754893" cy="11417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10" descr="Image result for centene">
            <a:extLst>
              <a:ext uri="{FF2B5EF4-FFF2-40B4-BE49-F238E27FC236}">
                <a16:creationId xmlns:a16="http://schemas.microsoft.com/office/drawing/2014/main" id="{DD1D7A7B-14CC-4B86-B149-91BEBE7A03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4136" y="3011761"/>
            <a:ext cx="2179320" cy="1005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8064967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7451" y="5996416"/>
            <a:ext cx="1756524" cy="1171015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9505" y="6223347"/>
            <a:ext cx="1400751" cy="700376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994" y="6444768"/>
            <a:ext cx="1097238" cy="274310"/>
          </a:xfrm>
          <a:prstGeom prst="rect">
            <a:avLst/>
          </a:prstGeom>
        </p:spPr>
      </p:pic>
      <p:pic>
        <p:nvPicPr>
          <p:cNvPr id="13" name="Grafik 12" descr="Ein Bild, das Objekt enthält.&#10;&#10;Mit hoher Zuverlässigkeit generierte Beschreibung">
            <a:extLst>
              <a:ext uri="{FF2B5EF4-FFF2-40B4-BE49-F238E27FC236}">
                <a16:creationId xmlns:a16="http://schemas.microsoft.com/office/drawing/2014/main" id="{E5AA72CE-8D17-4FBE-B09F-3FB0C215A16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9094" y="6318652"/>
            <a:ext cx="1049094" cy="431555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36FF77F4-36EF-4017-AB71-867871747EB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7675" y="6343150"/>
            <a:ext cx="2116822" cy="527882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6D0B10B2-C374-4192-88DA-CFF82B9A956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048" y="315357"/>
            <a:ext cx="2223164" cy="779950"/>
          </a:xfrm>
          <a:prstGeom prst="rect">
            <a:avLst/>
          </a:prstGeom>
        </p:spPr>
      </p:pic>
      <p:sp>
        <p:nvSpPr>
          <p:cNvPr id="14" name="Titel 1">
            <a:extLst>
              <a:ext uri="{FF2B5EF4-FFF2-40B4-BE49-F238E27FC236}">
                <a16:creationId xmlns:a16="http://schemas.microsoft.com/office/drawing/2014/main" id="{F2CD2A51-0F8F-4617-BD22-C4A2B0C6256C}"/>
              </a:ext>
            </a:extLst>
          </p:cNvPr>
          <p:cNvSpPr txBox="1">
            <a:spLocks/>
          </p:cNvSpPr>
          <p:nvPr/>
        </p:nvSpPr>
        <p:spPr>
          <a:xfrm>
            <a:off x="2698506" y="315357"/>
            <a:ext cx="9144000" cy="68892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rgbClr val="00B0F0"/>
                </a:solidFill>
                <a:latin typeface="Segoe UI Light" panose="020B0502040204020203" pitchFamily="34" charset="0"/>
                <a:ea typeface="+mj-ea"/>
                <a:cs typeface="Segoe UI Light" panose="020B0502040204020203" pitchFamily="34" charset="0"/>
              </a:defRPr>
            </a:lvl1pPr>
          </a:lstStyle>
          <a:p>
            <a:pPr algn="l"/>
            <a:r>
              <a:rPr lang="de-DE" sz="3600" dirty="0"/>
              <a:t>Herausforderungen auf dem Weg in die Cloud</a:t>
            </a:r>
          </a:p>
        </p:txBody>
      </p:sp>
      <p:graphicFrame>
        <p:nvGraphicFramePr>
          <p:cNvPr id="2" name="Diagramm 1">
            <a:extLst>
              <a:ext uri="{FF2B5EF4-FFF2-40B4-BE49-F238E27FC236}">
                <a16:creationId xmlns:a16="http://schemas.microsoft.com/office/drawing/2014/main" id="{75D85A2D-580F-4C80-BE56-595EDA6A44A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50578292"/>
              </p:ext>
            </p:extLst>
          </p:nvPr>
        </p:nvGraphicFramePr>
        <p:xfrm>
          <a:off x="2032000" y="999891"/>
          <a:ext cx="8128000" cy="141923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22" name="Textfeld 21">
            <a:extLst>
              <a:ext uri="{FF2B5EF4-FFF2-40B4-BE49-F238E27FC236}">
                <a16:creationId xmlns:a16="http://schemas.microsoft.com/office/drawing/2014/main" id="{B504F313-DFE2-44E8-8ECA-9C6EC30C394C}"/>
              </a:ext>
            </a:extLst>
          </p:cNvPr>
          <p:cNvSpPr txBox="1"/>
          <p:nvPr/>
        </p:nvSpPr>
        <p:spPr>
          <a:xfrm>
            <a:off x="357810" y="2215814"/>
            <a:ext cx="11834190" cy="3600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lvl="1" indent="-228600">
              <a:buClr>
                <a:schemeClr val="accent1">
                  <a:lumMod val="100000"/>
                </a:schemeClr>
              </a:buClr>
              <a:buSzPct val="100000"/>
              <a:buFont typeface="Wingdings" panose="05000000000000000000" pitchFamily="2" charset="2"/>
              <a:buChar char="§"/>
            </a:pPr>
            <a:r>
              <a:rPr lang="de-DE" b="1" dirty="0">
                <a:latin typeface="Segoe UI Light" panose="020B0502040204020203" pitchFamily="34" charset="0"/>
                <a:cs typeface="Segoe UI Light" panose="020B0502040204020203" pitchFamily="34" charset="0"/>
              </a:rPr>
              <a:t>Planung</a:t>
            </a:r>
          </a:p>
          <a:p>
            <a:pPr marL="685800" lvl="2" indent="-228600">
              <a:buClr>
                <a:schemeClr val="accent1">
                  <a:lumMod val="100000"/>
                </a:schemeClr>
              </a:buClr>
              <a:buSzPct val="100000"/>
              <a:buFont typeface="Wingdings" panose="05000000000000000000" pitchFamily="2" charset="2"/>
              <a:buChar char="§"/>
            </a:pPr>
            <a:r>
              <a:rPr lang="de-DE" dirty="0">
                <a:latin typeface="Segoe UI Light" panose="020B0502040204020203" pitchFamily="34" charset="0"/>
                <a:cs typeface="Segoe UI Light" panose="020B0502040204020203" pitchFamily="34" charset="0"/>
              </a:rPr>
              <a:t>Was wird für die Cloud-Nutzung benötigt? (Lizenzen, unterstützte Outlook-Client Versionen, Öffentliche Ordner, …)</a:t>
            </a:r>
            <a:br>
              <a:rPr lang="de-DE" dirty="0"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de-DE" sz="10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</a:p>
          <a:p>
            <a:pPr marL="228600" lvl="1" indent="-228600">
              <a:buClr>
                <a:schemeClr val="accent1">
                  <a:lumMod val="100000"/>
                </a:schemeClr>
              </a:buClr>
              <a:buSzPct val="100000"/>
              <a:buFont typeface="Wingdings" panose="05000000000000000000" pitchFamily="2" charset="2"/>
              <a:buChar char="§"/>
            </a:pPr>
            <a:r>
              <a:rPr lang="de-DE" b="1" dirty="0">
                <a:latin typeface="Segoe UI Light" panose="020B0502040204020203" pitchFamily="34" charset="0"/>
                <a:cs typeface="Segoe UI Light" panose="020B0502040204020203" pitchFamily="34" charset="0"/>
              </a:rPr>
              <a:t>Bereitstellung</a:t>
            </a:r>
          </a:p>
          <a:p>
            <a:pPr marL="685800" lvl="2" indent="-228600">
              <a:buClr>
                <a:schemeClr val="accent1">
                  <a:lumMod val="100000"/>
                </a:schemeClr>
              </a:buClr>
              <a:buSzPct val="100000"/>
              <a:buFont typeface="Wingdings" panose="05000000000000000000" pitchFamily="2" charset="2"/>
              <a:buChar char="§"/>
            </a:pPr>
            <a:r>
              <a:rPr lang="de-DE" dirty="0">
                <a:latin typeface="Segoe UI Light" panose="020B0502040204020203" pitchFamily="34" charset="0"/>
                <a:cs typeface="Segoe UI Light" panose="020B0502040204020203" pitchFamily="34" charset="0"/>
              </a:rPr>
              <a:t>Wie erkenne ich, dass AD FS und AAD Connect funktionieren?</a:t>
            </a:r>
          </a:p>
          <a:p>
            <a:pPr marL="685800" lvl="2" indent="-228600">
              <a:buClr>
                <a:schemeClr val="accent1">
                  <a:lumMod val="100000"/>
                </a:schemeClr>
              </a:buClr>
              <a:buSzPct val="100000"/>
              <a:buFont typeface="Wingdings" panose="05000000000000000000" pitchFamily="2" charset="2"/>
              <a:buChar char="§"/>
            </a:pPr>
            <a:r>
              <a:rPr lang="de-DE" dirty="0">
                <a:latin typeface="Segoe UI Light" panose="020B0502040204020203" pitchFamily="34" charset="0"/>
                <a:cs typeface="Segoe UI Light" panose="020B0502040204020203" pitchFamily="34" charset="0"/>
              </a:rPr>
              <a:t>Wie ist die Anwendererfahrung an unseren Standorten?</a:t>
            </a:r>
            <a:br>
              <a:rPr lang="de-DE" dirty="0"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de-DE" sz="10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endParaRPr lang="de-DE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228600" lvl="1" indent="-228600">
              <a:buClr>
                <a:schemeClr val="accent1">
                  <a:lumMod val="100000"/>
                </a:schemeClr>
              </a:buClr>
              <a:buSzPct val="100000"/>
              <a:buFont typeface="Wingdings" panose="05000000000000000000" pitchFamily="2" charset="2"/>
              <a:buChar char="§"/>
            </a:pPr>
            <a:r>
              <a:rPr lang="de-DE" b="1" dirty="0">
                <a:latin typeface="Segoe UI Light" panose="020B0502040204020203" pitchFamily="34" charset="0"/>
                <a:cs typeface="Segoe UI Light" panose="020B0502040204020203" pitchFamily="34" charset="0"/>
              </a:rPr>
              <a:t>Migration</a:t>
            </a:r>
            <a:r>
              <a:rPr lang="de-DE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</a:p>
          <a:p>
            <a:pPr marL="685800" lvl="2" indent="-228600">
              <a:buClr>
                <a:schemeClr val="accent1">
                  <a:lumMod val="100000"/>
                </a:schemeClr>
              </a:buClr>
              <a:buSzPct val="100000"/>
              <a:buFont typeface="Wingdings" panose="05000000000000000000" pitchFamily="2" charset="2"/>
              <a:buChar char="§"/>
            </a:pPr>
            <a:r>
              <a:rPr lang="de-DE" dirty="0">
                <a:latin typeface="Segoe UI Light" panose="020B0502040204020203" pitchFamily="34" charset="0"/>
                <a:cs typeface="Segoe UI Light" panose="020B0502040204020203" pitchFamily="34" charset="0"/>
              </a:rPr>
              <a:t>Wie verläuft der Migration Prozess und wie überwache ich ihn?</a:t>
            </a:r>
            <a:br>
              <a:rPr lang="de-DE" dirty="0"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de-DE" sz="10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</a:p>
          <a:p>
            <a:pPr marL="228600" lvl="1" indent="-228600">
              <a:buClr>
                <a:schemeClr val="accent1">
                  <a:lumMod val="100000"/>
                </a:schemeClr>
              </a:buClr>
              <a:buSzPct val="100000"/>
              <a:buFont typeface="Wingdings" panose="05000000000000000000" pitchFamily="2" charset="2"/>
              <a:buChar char="§"/>
            </a:pPr>
            <a:r>
              <a:rPr lang="de-DE" b="1" dirty="0">
                <a:latin typeface="Segoe UI Light" panose="020B0502040204020203" pitchFamily="34" charset="0"/>
                <a:cs typeface="Segoe UI Light" panose="020B0502040204020203" pitchFamily="34" charset="0"/>
              </a:rPr>
              <a:t>Betrieb</a:t>
            </a:r>
            <a:r>
              <a:rPr lang="de-DE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</a:p>
          <a:p>
            <a:pPr marL="685800" lvl="2" indent="-228600">
              <a:buClr>
                <a:schemeClr val="accent1">
                  <a:lumMod val="100000"/>
                </a:schemeClr>
              </a:buClr>
              <a:buSzPct val="100000"/>
              <a:buFont typeface="Wingdings" panose="05000000000000000000" pitchFamily="2" charset="2"/>
              <a:buChar char="§"/>
            </a:pPr>
            <a:r>
              <a:rPr lang="de-DE" dirty="0">
                <a:latin typeface="Segoe UI Light" panose="020B0502040204020203" pitchFamily="34" charset="0"/>
                <a:cs typeface="Segoe UI Light" panose="020B0502040204020203" pitchFamily="34" charset="0"/>
              </a:rPr>
              <a:t>Hybrid und Office 365 Monitoring – Wie erfahre ich vor den Anwendern, dass ein Dienstproblem </a:t>
            </a:r>
            <a:r>
              <a:rPr lang="de-DE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exisitiert</a:t>
            </a:r>
            <a:r>
              <a:rPr lang="de-DE" dirty="0">
                <a:latin typeface="Segoe UI Light" panose="020B0502040204020203" pitchFamily="34" charset="0"/>
                <a:cs typeface="Segoe UI Light" panose="020B0502040204020203" pitchFamily="34" charset="0"/>
              </a:rPr>
              <a:t>?</a:t>
            </a:r>
          </a:p>
          <a:p>
            <a:pPr marL="685800" lvl="2" indent="-228600">
              <a:buClr>
                <a:schemeClr val="accent1">
                  <a:lumMod val="100000"/>
                </a:schemeClr>
              </a:buClr>
              <a:buSzPct val="100000"/>
              <a:buFont typeface="Wingdings" panose="05000000000000000000" pitchFamily="2" charset="2"/>
              <a:buChar char="§"/>
            </a:pPr>
            <a:r>
              <a:rPr lang="de-DE" dirty="0">
                <a:latin typeface="Segoe UI Light" panose="020B0502040204020203" pitchFamily="34" charset="0"/>
                <a:cs typeface="Segoe UI Light" panose="020B0502040204020203" pitchFamily="34" charset="0"/>
              </a:rPr>
              <a:t>Lizenznutzung – Wie stelle ich sicher, dass die Anwender die abonnierten Dienste auch nutzen?</a:t>
            </a:r>
          </a:p>
          <a:p>
            <a:pPr marL="685800" lvl="2" indent="-228600">
              <a:buClr>
                <a:schemeClr val="accent1">
                  <a:lumMod val="100000"/>
                </a:schemeClr>
              </a:buClr>
              <a:buSzPct val="100000"/>
              <a:buFont typeface="Wingdings" panose="05000000000000000000" pitchFamily="2" charset="2"/>
              <a:buChar char="§"/>
            </a:pPr>
            <a:r>
              <a:rPr lang="de-DE" dirty="0">
                <a:latin typeface="Segoe UI Light" panose="020B0502040204020203" pitchFamily="34" charset="0"/>
                <a:cs typeface="Segoe UI Light" panose="020B0502040204020203" pitchFamily="34" charset="0"/>
              </a:rPr>
              <a:t>Lizenzmanagement – Wie kontrolliere ich die Kosten? </a:t>
            </a:r>
          </a:p>
        </p:txBody>
      </p:sp>
    </p:spTree>
    <p:extLst>
      <p:ext uri="{BB962C8B-B14F-4D97-AF65-F5344CB8AC3E}">
        <p14:creationId xmlns:p14="http://schemas.microsoft.com/office/powerpoint/2010/main" val="230384817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477A9327-576C-4D76-B2FE-7124365F12F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46157D78-0424-4857-8E7D-D237EF69FBD9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9D292403-444E-4DA4-A8CD-4F209907D5B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A1358FD1-6DDB-4EC2-8F60-5E36DEE41BD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2" grpId="0" uiExpand="1">
        <p:bldSub>
          <a:bldDgm bld="one"/>
        </p:bldSub>
      </p:bldGraphic>
      <p:bldP spid="22" grpId="0" uiExpand="1" build="p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7451" y="5996416"/>
            <a:ext cx="1756524" cy="1171015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9505" y="6223347"/>
            <a:ext cx="1400751" cy="700376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994" y="6444768"/>
            <a:ext cx="1097238" cy="274310"/>
          </a:xfrm>
          <a:prstGeom prst="rect">
            <a:avLst/>
          </a:prstGeom>
        </p:spPr>
      </p:pic>
      <p:pic>
        <p:nvPicPr>
          <p:cNvPr id="13" name="Grafik 12" descr="Ein Bild, das Objekt enthält.&#10;&#10;Mit hoher Zuverlässigkeit generierte Beschreibung">
            <a:extLst>
              <a:ext uri="{FF2B5EF4-FFF2-40B4-BE49-F238E27FC236}">
                <a16:creationId xmlns:a16="http://schemas.microsoft.com/office/drawing/2014/main" id="{E5AA72CE-8D17-4FBE-B09F-3FB0C215A16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9094" y="6318652"/>
            <a:ext cx="1049094" cy="431555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36FF77F4-36EF-4017-AB71-867871747EB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7675" y="6343150"/>
            <a:ext cx="2116822" cy="527882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6D0B10B2-C374-4192-88DA-CFF82B9A956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048" y="315357"/>
            <a:ext cx="2223164" cy="779950"/>
          </a:xfrm>
          <a:prstGeom prst="rect">
            <a:avLst/>
          </a:prstGeom>
        </p:spPr>
      </p:pic>
      <p:sp>
        <p:nvSpPr>
          <p:cNvPr id="14" name="Titel 1">
            <a:extLst>
              <a:ext uri="{FF2B5EF4-FFF2-40B4-BE49-F238E27FC236}">
                <a16:creationId xmlns:a16="http://schemas.microsoft.com/office/drawing/2014/main" id="{F2CD2A51-0F8F-4617-BD22-C4A2B0C6256C}"/>
              </a:ext>
            </a:extLst>
          </p:cNvPr>
          <p:cNvSpPr txBox="1">
            <a:spLocks/>
          </p:cNvSpPr>
          <p:nvPr/>
        </p:nvSpPr>
        <p:spPr>
          <a:xfrm>
            <a:off x="2698506" y="315357"/>
            <a:ext cx="9144000" cy="68892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rgbClr val="00B0F0"/>
                </a:solidFill>
                <a:latin typeface="Segoe UI Light" panose="020B0502040204020203" pitchFamily="34" charset="0"/>
                <a:ea typeface="+mj-ea"/>
                <a:cs typeface="Segoe UI Light" panose="020B0502040204020203" pitchFamily="34" charset="0"/>
              </a:defRPr>
            </a:lvl1pPr>
          </a:lstStyle>
          <a:p>
            <a:pPr algn="l"/>
            <a:r>
              <a:rPr lang="de-DE" sz="3600" dirty="0"/>
              <a:t>ENow </a:t>
            </a:r>
            <a:r>
              <a:rPr lang="de-DE" sz="3600" dirty="0" err="1"/>
              <a:t>Mailscape</a:t>
            </a:r>
            <a:r>
              <a:rPr lang="de-DE" sz="3600" dirty="0"/>
              <a:t> 365</a:t>
            </a:r>
          </a:p>
        </p:txBody>
      </p:sp>
      <p:pic>
        <p:nvPicPr>
          <p:cNvPr id="25" name="Picture Placeholder 5">
            <a:extLst>
              <a:ext uri="{FF2B5EF4-FFF2-40B4-BE49-F238E27FC236}">
                <a16:creationId xmlns:a16="http://schemas.microsoft.com/office/drawing/2014/main" id="{D5D95723-6437-4A7E-B274-AB5C19790B6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486" y="1421536"/>
            <a:ext cx="5535587" cy="401492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</p:pic>
      <p:sp>
        <p:nvSpPr>
          <p:cNvPr id="26" name="Textfeld 25">
            <a:extLst>
              <a:ext uri="{FF2B5EF4-FFF2-40B4-BE49-F238E27FC236}">
                <a16:creationId xmlns:a16="http://schemas.microsoft.com/office/drawing/2014/main" id="{DCB8E933-A5C7-444D-B0E3-432AB6D98F57}"/>
              </a:ext>
            </a:extLst>
          </p:cNvPr>
          <p:cNvSpPr txBox="1"/>
          <p:nvPr/>
        </p:nvSpPr>
        <p:spPr>
          <a:xfrm>
            <a:off x="365761" y="1304800"/>
            <a:ext cx="7529884" cy="49090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lvl="1" indent="-228600">
              <a:buClr>
                <a:schemeClr val="accent1">
                  <a:lumMod val="100000"/>
                </a:schemeClr>
              </a:buClr>
              <a:buSzPct val="100000"/>
              <a:buFont typeface="Wingdings" panose="05000000000000000000" pitchFamily="2" charset="2"/>
              <a:buChar char="§"/>
            </a:pPr>
            <a:r>
              <a:rPr lang="de-DE" b="1" dirty="0">
                <a:latin typeface="Segoe UI Light" panose="020B0502040204020203" pitchFamily="34" charset="0"/>
                <a:cs typeface="Segoe UI Light" panose="020B0502040204020203" pitchFamily="34" charset="0"/>
              </a:rPr>
              <a:t>Beschleunigung Ihrer Migration zu Office 365 </a:t>
            </a:r>
          </a:p>
          <a:p>
            <a:pPr marL="685800" lvl="2" indent="-228600">
              <a:buClr>
                <a:schemeClr val="accent1">
                  <a:lumMod val="100000"/>
                </a:schemeClr>
              </a:buClr>
              <a:buSzPct val="100000"/>
              <a:buFont typeface="Wingdings" panose="05000000000000000000" pitchFamily="2" charset="2"/>
              <a:buChar char="§"/>
            </a:pPr>
            <a:r>
              <a:rPr lang="de-DE" sz="1700" dirty="0">
                <a:latin typeface="Segoe UI Light" panose="020B0502040204020203" pitchFamily="34" charset="0"/>
                <a:cs typeface="Segoe UI Light" panose="020B0502040204020203" pitchFamily="34" charset="0"/>
              </a:rPr>
              <a:t>Migrationsberichte, Netzwerkverfügbarkeit von Standorten, Funktionsprüfung der Hybrid-Komponenten (AAD Connect / AD FS)</a:t>
            </a:r>
            <a:br>
              <a:rPr lang="de-DE" sz="1700" dirty="0"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de-DE" sz="17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</a:p>
          <a:p>
            <a:pPr marL="228600" lvl="1" indent="-228600">
              <a:buClr>
                <a:schemeClr val="accent1">
                  <a:lumMod val="100000"/>
                </a:schemeClr>
              </a:buClr>
              <a:buSzPct val="100000"/>
              <a:buFont typeface="Wingdings" panose="05000000000000000000" pitchFamily="2" charset="2"/>
              <a:buChar char="§"/>
            </a:pPr>
            <a:r>
              <a:rPr lang="de-DE" b="1" dirty="0">
                <a:latin typeface="Segoe UI Light" panose="020B0502040204020203" pitchFamily="34" charset="0"/>
                <a:cs typeface="Segoe UI Light" panose="020B0502040204020203" pitchFamily="34" charset="0"/>
              </a:rPr>
              <a:t>Proaktives Monitoring</a:t>
            </a:r>
          </a:p>
          <a:p>
            <a:pPr marL="685800" lvl="2" indent="-228600">
              <a:buClr>
                <a:schemeClr val="accent1">
                  <a:lumMod val="100000"/>
                </a:schemeClr>
              </a:buClr>
              <a:buSzPct val="100000"/>
              <a:buFont typeface="Wingdings" panose="05000000000000000000" pitchFamily="2" charset="2"/>
              <a:buChar char="§"/>
            </a:pPr>
            <a:r>
              <a:rPr lang="de-DE" sz="1700" dirty="0">
                <a:latin typeface="Segoe UI Light" panose="020B0502040204020203" pitchFamily="34" charset="0"/>
                <a:cs typeface="Segoe UI Light" panose="020B0502040204020203" pitchFamily="34" charset="0"/>
              </a:rPr>
              <a:t>Eine Dashboard-Ansicht für On-Premises, Hybrid und Office 365</a:t>
            </a:r>
          </a:p>
          <a:p>
            <a:pPr marL="685800" lvl="2" indent="-228600">
              <a:buClr>
                <a:schemeClr val="accent1">
                  <a:lumMod val="100000"/>
                </a:schemeClr>
              </a:buClr>
              <a:buSzPct val="100000"/>
              <a:buFont typeface="Wingdings" panose="05000000000000000000" pitchFamily="2" charset="2"/>
              <a:buChar char="§"/>
            </a:pPr>
            <a:r>
              <a:rPr lang="de-DE" sz="1700" dirty="0">
                <a:latin typeface="Segoe UI Light" panose="020B0502040204020203" pitchFamily="34" charset="0"/>
                <a:cs typeface="Segoe UI Light" panose="020B0502040204020203" pitchFamily="34" charset="0"/>
              </a:rPr>
              <a:t>Schnelle Identifikation von Ausfällen und Ursachenfindung</a:t>
            </a:r>
          </a:p>
          <a:p>
            <a:pPr marL="685800" lvl="2" indent="-228600">
              <a:buClr>
                <a:schemeClr val="accent1">
                  <a:lumMod val="100000"/>
                </a:schemeClr>
              </a:buClr>
              <a:buSzPct val="100000"/>
              <a:buFont typeface="Wingdings" panose="05000000000000000000" pitchFamily="2" charset="2"/>
              <a:buChar char="§"/>
            </a:pPr>
            <a:r>
              <a:rPr lang="de-DE" sz="1700" dirty="0">
                <a:latin typeface="Segoe UI Light" panose="020B0502040204020203" pitchFamily="34" charset="0"/>
                <a:cs typeface="Segoe UI Light" panose="020B0502040204020203" pitchFamily="34" charset="0"/>
              </a:rPr>
              <a:t>Verbesserung der Service-Levels</a:t>
            </a:r>
            <a:br>
              <a:rPr lang="de-DE" sz="1700" dirty="0"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endParaRPr lang="de-DE" sz="17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228600" lvl="1" indent="-228600">
              <a:buClr>
                <a:schemeClr val="accent1">
                  <a:lumMod val="100000"/>
                </a:schemeClr>
              </a:buClr>
              <a:buSzPct val="100000"/>
              <a:buFont typeface="Wingdings" panose="05000000000000000000" pitchFamily="2" charset="2"/>
              <a:buChar char="§"/>
            </a:pPr>
            <a:r>
              <a:rPr lang="de-DE" b="1" dirty="0">
                <a:latin typeface="Segoe UI Light" panose="020B0502040204020203" pitchFamily="34" charset="0"/>
                <a:cs typeface="Segoe UI Light" panose="020B0502040204020203" pitchFamily="34" charset="0"/>
              </a:rPr>
              <a:t>Ausführliche Auswertungen</a:t>
            </a:r>
          </a:p>
          <a:p>
            <a:pPr marL="685800" lvl="2" indent="-228600">
              <a:buClr>
                <a:schemeClr val="accent1">
                  <a:lumMod val="100000"/>
                </a:schemeClr>
              </a:buClr>
              <a:buSzPct val="100000"/>
              <a:buFont typeface="Wingdings" panose="05000000000000000000" pitchFamily="2" charset="2"/>
              <a:buChar char="§"/>
            </a:pPr>
            <a:r>
              <a:rPr lang="de-DE" sz="1700" dirty="0">
                <a:latin typeface="Segoe UI Light" panose="020B0502040204020203" pitchFamily="34" charset="0"/>
                <a:cs typeface="Segoe UI Light" panose="020B0502040204020203" pitchFamily="34" charset="0"/>
              </a:rPr>
              <a:t>Verbesserte Verwaltung von Diensten und deren Konfigurationen</a:t>
            </a:r>
            <a:br>
              <a:rPr lang="de-DE" sz="1700" dirty="0"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endParaRPr lang="de-DE" sz="17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228600" lvl="1" indent="-228600">
              <a:buClr>
                <a:schemeClr val="accent1">
                  <a:lumMod val="100000"/>
                </a:schemeClr>
              </a:buClr>
              <a:buSzPct val="100000"/>
              <a:buFont typeface="Wingdings" panose="05000000000000000000" pitchFamily="2" charset="2"/>
              <a:buChar char="§"/>
            </a:pPr>
            <a:r>
              <a:rPr lang="de-DE" b="1" dirty="0">
                <a:latin typeface="Segoe UI Light" panose="020B0502040204020203" pitchFamily="34" charset="0"/>
                <a:cs typeface="Segoe UI Light" panose="020B0502040204020203" pitchFamily="34" charset="0"/>
              </a:rPr>
              <a:t>Bessere Lizenznutzung </a:t>
            </a:r>
          </a:p>
          <a:p>
            <a:pPr marL="685800" lvl="2" indent="-228600">
              <a:buClr>
                <a:schemeClr val="accent1">
                  <a:lumMod val="100000"/>
                </a:schemeClr>
              </a:buClr>
              <a:buSzPct val="100000"/>
              <a:buFont typeface="Wingdings" panose="05000000000000000000" pitchFamily="2" charset="2"/>
              <a:buChar char="§"/>
            </a:pPr>
            <a:r>
              <a:rPr lang="de-DE" sz="1700" dirty="0">
                <a:latin typeface="Segoe UI Light" panose="020B0502040204020203" pitchFamily="34" charset="0"/>
                <a:cs typeface="Segoe UI Light" panose="020B0502040204020203" pitchFamily="34" charset="0"/>
              </a:rPr>
              <a:t>Förderung der Nutzung von weniger genutzten Diensten</a:t>
            </a:r>
            <a:br>
              <a:rPr lang="de-DE" sz="1700" dirty="0"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endParaRPr lang="de-DE" sz="17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228600" lvl="1" indent="-228600">
              <a:buClr>
                <a:schemeClr val="accent1">
                  <a:lumMod val="100000"/>
                </a:schemeClr>
              </a:buClr>
              <a:buSzPct val="100000"/>
              <a:buFont typeface="Wingdings" panose="05000000000000000000" pitchFamily="2" charset="2"/>
              <a:buChar char="§"/>
            </a:pPr>
            <a:r>
              <a:rPr lang="de-DE" b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izenzmanagement</a:t>
            </a:r>
          </a:p>
          <a:p>
            <a:pPr marL="685800" lvl="2" indent="-228600">
              <a:buClr>
                <a:schemeClr val="accent1">
                  <a:lumMod val="100000"/>
                </a:schemeClr>
              </a:buClr>
              <a:buSzPct val="100000"/>
              <a:buFont typeface="Wingdings" panose="05000000000000000000" pitchFamily="2" charset="2"/>
              <a:buChar char="§"/>
            </a:pPr>
            <a:r>
              <a:rPr lang="de-DE" dirty="0">
                <a:latin typeface="Segoe UI Light" panose="020B0502040204020203" pitchFamily="34" charset="0"/>
                <a:cs typeface="Segoe UI Light" panose="020B0502040204020203" pitchFamily="34" charset="0"/>
              </a:rPr>
              <a:t>Kostenkontrolle durch Beseitigung unnötige Lizenzzuweisungen und Nachverfolgung von Lizenzkäufen</a:t>
            </a:r>
          </a:p>
        </p:txBody>
      </p:sp>
    </p:spTree>
    <p:extLst>
      <p:ext uri="{BB962C8B-B14F-4D97-AF65-F5344CB8AC3E}">
        <p14:creationId xmlns:p14="http://schemas.microsoft.com/office/powerpoint/2010/main" val="419453162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uiExpand="1" build="p" bldLvl="2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7451" y="5996416"/>
            <a:ext cx="1756524" cy="1171015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9505" y="6223347"/>
            <a:ext cx="1400751" cy="700376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994" y="6444768"/>
            <a:ext cx="1097238" cy="274310"/>
          </a:xfrm>
          <a:prstGeom prst="rect">
            <a:avLst/>
          </a:prstGeom>
        </p:spPr>
      </p:pic>
      <p:pic>
        <p:nvPicPr>
          <p:cNvPr id="13" name="Grafik 12" descr="Ein Bild, das Objekt enthält.&#10;&#10;Mit hoher Zuverlässigkeit generierte Beschreibung">
            <a:extLst>
              <a:ext uri="{FF2B5EF4-FFF2-40B4-BE49-F238E27FC236}">
                <a16:creationId xmlns:a16="http://schemas.microsoft.com/office/drawing/2014/main" id="{E5AA72CE-8D17-4FBE-B09F-3FB0C215A16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9094" y="6318652"/>
            <a:ext cx="1049094" cy="431555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36FF77F4-36EF-4017-AB71-867871747EB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7675" y="6343150"/>
            <a:ext cx="2116822" cy="527882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6D0B10B2-C374-4192-88DA-CFF82B9A956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048" y="315357"/>
            <a:ext cx="2223164" cy="779950"/>
          </a:xfrm>
          <a:prstGeom prst="rect">
            <a:avLst/>
          </a:prstGeom>
        </p:spPr>
      </p:pic>
      <p:sp>
        <p:nvSpPr>
          <p:cNvPr id="14" name="Titel 1">
            <a:extLst>
              <a:ext uri="{FF2B5EF4-FFF2-40B4-BE49-F238E27FC236}">
                <a16:creationId xmlns:a16="http://schemas.microsoft.com/office/drawing/2014/main" id="{F2CD2A51-0F8F-4617-BD22-C4A2B0C6256C}"/>
              </a:ext>
            </a:extLst>
          </p:cNvPr>
          <p:cNvSpPr txBox="1">
            <a:spLocks/>
          </p:cNvSpPr>
          <p:nvPr/>
        </p:nvSpPr>
        <p:spPr>
          <a:xfrm>
            <a:off x="2698506" y="315357"/>
            <a:ext cx="9144000" cy="68892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rgbClr val="00B0F0"/>
                </a:solidFill>
                <a:latin typeface="Segoe UI Light" panose="020B0502040204020203" pitchFamily="34" charset="0"/>
                <a:ea typeface="+mj-ea"/>
                <a:cs typeface="Segoe UI Light" panose="020B0502040204020203" pitchFamily="34" charset="0"/>
              </a:defRPr>
            </a:lvl1pPr>
          </a:lstStyle>
          <a:p>
            <a:pPr algn="l"/>
            <a:r>
              <a:rPr lang="de-DE" sz="3600" dirty="0"/>
              <a:t>Monitoring in einer Cloud-Welt</a:t>
            </a:r>
          </a:p>
        </p:txBody>
      </p:sp>
      <p:pic>
        <p:nvPicPr>
          <p:cNvPr id="25" name="Picture Placeholder 5">
            <a:extLst>
              <a:ext uri="{FF2B5EF4-FFF2-40B4-BE49-F238E27FC236}">
                <a16:creationId xmlns:a16="http://schemas.microsoft.com/office/drawing/2014/main" id="{D5D95723-6437-4A7E-B274-AB5C19790B6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486" y="1421536"/>
            <a:ext cx="5535587" cy="401492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</p:pic>
      <p:sp>
        <p:nvSpPr>
          <p:cNvPr id="26" name="Textfeld 25">
            <a:extLst>
              <a:ext uri="{FF2B5EF4-FFF2-40B4-BE49-F238E27FC236}">
                <a16:creationId xmlns:a16="http://schemas.microsoft.com/office/drawing/2014/main" id="{DCB8E933-A5C7-444D-B0E3-432AB6D98F57}"/>
              </a:ext>
            </a:extLst>
          </p:cNvPr>
          <p:cNvSpPr txBox="1"/>
          <p:nvPr/>
        </p:nvSpPr>
        <p:spPr>
          <a:xfrm>
            <a:off x="381664" y="1886470"/>
            <a:ext cx="7529884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lvl="1" indent="-228600">
              <a:buClr>
                <a:schemeClr val="accent1">
                  <a:lumMod val="100000"/>
                </a:schemeClr>
              </a:buClr>
              <a:buSzPct val="100000"/>
              <a:buFont typeface="Wingdings" panose="05000000000000000000" pitchFamily="2" charset="2"/>
              <a:buChar char="§"/>
            </a:pPr>
            <a:r>
              <a:rPr lang="de-DE" b="1" dirty="0">
                <a:latin typeface="Segoe UI Light" panose="020B0502040204020203" pitchFamily="34" charset="0"/>
                <a:cs typeface="Segoe UI Light" panose="020B0502040204020203" pitchFamily="34" charset="0"/>
              </a:rPr>
              <a:t>Nachvollziehbarkeit</a:t>
            </a:r>
            <a:r>
              <a:rPr lang="de-DE" dirty="0">
                <a:latin typeface="Segoe UI Light" panose="020B0502040204020203" pitchFamily="34" charset="0"/>
                <a:cs typeface="Segoe UI Light" panose="020B0502040204020203" pitchFamily="34" charset="0"/>
              </a:rPr>
              <a:t>, wenn etwas nicht funktioniert und was der Auslöser hierfür ist</a:t>
            </a:r>
          </a:p>
          <a:p>
            <a:pPr marL="228600" lvl="1" indent="-228600">
              <a:buClr>
                <a:schemeClr val="accent1">
                  <a:lumMod val="100000"/>
                </a:schemeClr>
              </a:buClr>
              <a:buSzPct val="100000"/>
              <a:buFont typeface="Wingdings" panose="05000000000000000000" pitchFamily="2" charset="2"/>
              <a:buChar char="§"/>
            </a:pPr>
            <a:endParaRPr lang="de-DE" b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228600" lvl="1" indent="-228600">
              <a:buClr>
                <a:schemeClr val="accent1">
                  <a:lumMod val="100000"/>
                </a:schemeClr>
              </a:buClr>
              <a:buSzPct val="100000"/>
              <a:buFont typeface="Wingdings" panose="05000000000000000000" pitchFamily="2" charset="2"/>
              <a:buChar char="§"/>
            </a:pPr>
            <a:r>
              <a:rPr lang="de-DE" b="1" dirty="0">
                <a:latin typeface="Segoe UI Light" panose="020B0502040204020203" pitchFamily="34" charset="0"/>
                <a:cs typeface="Segoe UI Light" panose="020B0502040204020203" pitchFamily="34" charset="0"/>
              </a:rPr>
              <a:t>Sicherstellung</a:t>
            </a:r>
            <a:r>
              <a:rPr lang="de-DE" dirty="0">
                <a:latin typeface="Segoe UI Light" panose="020B0502040204020203" pitchFamily="34" charset="0"/>
                <a:cs typeface="Segoe UI Light" panose="020B0502040204020203" pitchFamily="34" charset="0"/>
              </a:rPr>
              <a:t>, dass eine Störung unmittelbar festgestellt und beseitigt werden kann</a:t>
            </a:r>
          </a:p>
          <a:p>
            <a:pPr marL="228600" lvl="1" indent="-228600">
              <a:buClr>
                <a:schemeClr val="accent1">
                  <a:lumMod val="100000"/>
                </a:schemeClr>
              </a:buClr>
              <a:buSzPct val="100000"/>
              <a:buFont typeface="Wingdings" panose="05000000000000000000" pitchFamily="2" charset="2"/>
              <a:buChar char="§"/>
            </a:pPr>
            <a:endParaRPr lang="de-DE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228600" lvl="1" indent="-228600">
              <a:buClr>
                <a:schemeClr val="accent1">
                  <a:lumMod val="100000"/>
                </a:schemeClr>
              </a:buClr>
              <a:buSzPct val="100000"/>
              <a:buFont typeface="Wingdings" panose="05000000000000000000" pitchFamily="2" charset="2"/>
              <a:buChar char="§"/>
            </a:pPr>
            <a:r>
              <a:rPr lang="de-DE" b="1" dirty="0">
                <a:latin typeface="Segoe UI Light" panose="020B0502040204020203" pitchFamily="34" charset="0"/>
                <a:cs typeface="Segoe UI Light" panose="020B0502040204020203" pitchFamily="34" charset="0"/>
              </a:rPr>
              <a:t>Sichtbarkeit</a:t>
            </a:r>
            <a:r>
              <a:rPr lang="de-DE" dirty="0">
                <a:latin typeface="Segoe UI Light" panose="020B0502040204020203" pitchFamily="34" charset="0"/>
                <a:cs typeface="Segoe UI Light" panose="020B0502040204020203" pitchFamily="34" charset="0"/>
              </a:rPr>
              <a:t> für Probleme, die sich innerhalb von Office 365 entwickeln</a:t>
            </a:r>
          </a:p>
        </p:txBody>
      </p:sp>
    </p:spTree>
    <p:extLst>
      <p:ext uri="{BB962C8B-B14F-4D97-AF65-F5344CB8AC3E}">
        <p14:creationId xmlns:p14="http://schemas.microsoft.com/office/powerpoint/2010/main" val="81787746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build="p" bldLvl="2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7451" y="5996416"/>
            <a:ext cx="1756524" cy="1171015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9505" y="6223347"/>
            <a:ext cx="1400751" cy="700376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994" y="6444768"/>
            <a:ext cx="1097238" cy="274310"/>
          </a:xfrm>
          <a:prstGeom prst="rect">
            <a:avLst/>
          </a:prstGeom>
        </p:spPr>
      </p:pic>
      <p:pic>
        <p:nvPicPr>
          <p:cNvPr id="13" name="Grafik 12" descr="Ein Bild, das Objekt enthält.&#10;&#10;Mit hoher Zuverlässigkeit generierte Beschreibung">
            <a:extLst>
              <a:ext uri="{FF2B5EF4-FFF2-40B4-BE49-F238E27FC236}">
                <a16:creationId xmlns:a16="http://schemas.microsoft.com/office/drawing/2014/main" id="{E5AA72CE-8D17-4FBE-B09F-3FB0C215A16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9094" y="6318652"/>
            <a:ext cx="1049094" cy="431555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36FF77F4-36EF-4017-AB71-867871747EB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7675" y="6343150"/>
            <a:ext cx="2116822" cy="527882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6D0B10B2-C374-4192-88DA-CFF82B9A956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048" y="315357"/>
            <a:ext cx="2223164" cy="779950"/>
          </a:xfrm>
          <a:prstGeom prst="rect">
            <a:avLst/>
          </a:prstGeom>
        </p:spPr>
      </p:pic>
      <p:sp>
        <p:nvSpPr>
          <p:cNvPr id="14" name="Titel 1">
            <a:extLst>
              <a:ext uri="{FF2B5EF4-FFF2-40B4-BE49-F238E27FC236}">
                <a16:creationId xmlns:a16="http://schemas.microsoft.com/office/drawing/2014/main" id="{F2CD2A51-0F8F-4617-BD22-C4A2B0C6256C}"/>
              </a:ext>
            </a:extLst>
          </p:cNvPr>
          <p:cNvSpPr txBox="1">
            <a:spLocks/>
          </p:cNvSpPr>
          <p:nvPr/>
        </p:nvSpPr>
        <p:spPr>
          <a:xfrm>
            <a:off x="2698506" y="315357"/>
            <a:ext cx="9144000" cy="68892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rgbClr val="00B0F0"/>
                </a:solidFill>
                <a:latin typeface="Segoe UI Light" panose="020B0502040204020203" pitchFamily="34" charset="0"/>
                <a:ea typeface="+mj-ea"/>
                <a:cs typeface="Segoe UI Light" panose="020B0502040204020203" pitchFamily="34" charset="0"/>
              </a:defRPr>
            </a:lvl1pPr>
          </a:lstStyle>
          <a:p>
            <a:pPr algn="l"/>
            <a:r>
              <a:rPr lang="de-DE" sz="3600" dirty="0"/>
              <a:t>Monitoring der Anwendererfahrung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DCB8E933-A5C7-444D-B0E3-432AB6D98F57}"/>
              </a:ext>
            </a:extLst>
          </p:cNvPr>
          <p:cNvSpPr txBox="1"/>
          <p:nvPr/>
        </p:nvSpPr>
        <p:spPr>
          <a:xfrm>
            <a:off x="389150" y="1581181"/>
            <a:ext cx="5939661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chemeClr val="accent1">
                  <a:lumMod val="100000"/>
                </a:schemeClr>
              </a:buClr>
              <a:buSzPct val="100000"/>
            </a:pPr>
            <a:r>
              <a:rPr lang="de-DE" dirty="0">
                <a:latin typeface="Segoe UI Light" panose="020B0502040204020203" pitchFamily="34" charset="0"/>
                <a:cs typeface="Segoe UI Light" panose="020B0502040204020203" pitchFamily="34" charset="0"/>
              </a:rPr>
              <a:t>Remote Proben – Tests für Client-Ports, Verbindungsstatus und Latenzen</a:t>
            </a:r>
          </a:p>
          <a:p>
            <a:pPr>
              <a:buClr>
                <a:schemeClr val="accent1">
                  <a:lumMod val="100000"/>
                </a:schemeClr>
              </a:buClr>
              <a:buSzPct val="100000"/>
            </a:pPr>
            <a:endParaRPr lang="de-DE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>
              <a:buClr>
                <a:schemeClr val="accent1">
                  <a:lumMod val="100000"/>
                </a:schemeClr>
              </a:buClr>
              <a:buSzPct val="100000"/>
            </a:pPr>
            <a:r>
              <a:rPr lang="de-DE" dirty="0">
                <a:latin typeface="Segoe UI Light" panose="020B0502040204020203" pitchFamily="34" charset="0"/>
                <a:cs typeface="Segoe UI Light" panose="020B0502040204020203" pitchFamily="34" charset="0"/>
              </a:rPr>
              <a:t>Sicherstellung, dass die SLA für Benutzer eingehalten werden</a:t>
            </a:r>
          </a:p>
          <a:p>
            <a:pPr>
              <a:buClr>
                <a:schemeClr val="accent1">
                  <a:lumMod val="100000"/>
                </a:schemeClr>
              </a:buClr>
              <a:buSzPct val="100000"/>
            </a:pPr>
            <a:endParaRPr lang="de-DE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>
              <a:buClr>
                <a:schemeClr val="accent1">
                  <a:lumMod val="100000"/>
                </a:schemeClr>
              </a:buClr>
              <a:buSzPct val="100000"/>
            </a:pPr>
            <a:r>
              <a:rPr lang="de-DE" dirty="0">
                <a:latin typeface="Segoe UI Light" panose="020B0502040204020203" pitchFamily="34" charset="0"/>
                <a:cs typeface="Segoe UI Light" panose="020B0502040204020203" pitchFamily="34" charset="0"/>
              </a:rPr>
              <a:t>Standortbasierte Fehleranalyse für Zugriffe zu Microsoft, das lokale Netzwerk und hybride Komponenten</a:t>
            </a:r>
          </a:p>
          <a:p>
            <a:pPr>
              <a:buClr>
                <a:schemeClr val="accent1">
                  <a:lumMod val="100000"/>
                </a:schemeClr>
              </a:buClr>
              <a:buSzPct val="100000"/>
            </a:pPr>
            <a:endParaRPr lang="de-DE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>
              <a:buClr>
                <a:schemeClr val="accent1">
                  <a:lumMod val="100000"/>
                </a:schemeClr>
              </a:buClr>
              <a:buSzPct val="100000"/>
            </a:pPr>
            <a:r>
              <a:rPr lang="de-DE" dirty="0">
                <a:latin typeface="Segoe UI Light" panose="020B0502040204020203" pitchFamily="34" charset="0"/>
                <a:cs typeface="Segoe UI Light" panose="020B0502040204020203" pitchFamily="34" charset="0"/>
              </a:rPr>
              <a:t>Interaktive Latenz-Berichte bieten eine globale Leistungsübersicht für Zugriffe auf Office 365 Dienste</a:t>
            </a:r>
          </a:p>
          <a:p>
            <a:pPr>
              <a:buClr>
                <a:schemeClr val="accent1">
                  <a:lumMod val="100000"/>
                </a:schemeClr>
              </a:buClr>
              <a:buSzPct val="100000"/>
            </a:pPr>
            <a:endParaRPr lang="de-DE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>
              <a:buClr>
                <a:schemeClr val="accent1">
                  <a:lumMod val="100000"/>
                </a:schemeClr>
              </a:buClr>
              <a:buSzPct val="100000"/>
            </a:pPr>
            <a:r>
              <a:rPr lang="de-DE" dirty="0">
                <a:latin typeface="Segoe UI Light" panose="020B0502040204020203" pitchFamily="34" charset="0"/>
                <a:cs typeface="Segoe UI Light" panose="020B0502040204020203" pitchFamily="34" charset="0"/>
              </a:rPr>
              <a:t>Synthetische Tests simulieren Anwenderzugriffe auf Exchange, SharePoint, Teams, Skype </a:t>
            </a:r>
            <a:r>
              <a:rPr lang="de-DE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for</a:t>
            </a:r>
            <a:r>
              <a:rPr lang="de-DE" dirty="0">
                <a:latin typeface="Segoe UI Light" panose="020B0502040204020203" pitchFamily="34" charset="0"/>
                <a:cs typeface="Segoe UI Light" panose="020B0502040204020203" pitchFamily="34" charset="0"/>
              </a:rPr>
              <a:t> Business Online und andere Workloads</a:t>
            </a:r>
          </a:p>
        </p:txBody>
      </p:sp>
      <p:pic>
        <p:nvPicPr>
          <p:cNvPr id="11" name="Picture 2" descr="Image result for Europe Graphic grey">
            <a:extLst>
              <a:ext uri="{FF2B5EF4-FFF2-40B4-BE49-F238E27FC236}">
                <a16:creationId xmlns:a16="http://schemas.microsoft.com/office/drawing/2014/main" id="{C306D6CA-5F22-4DC9-9BE6-2332697248B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722"/>
          <a:stretch/>
        </p:blipFill>
        <p:spPr bwMode="auto">
          <a:xfrm>
            <a:off x="6495852" y="1597814"/>
            <a:ext cx="5074452" cy="38220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85">
            <a:extLst>
              <a:ext uri="{FF2B5EF4-FFF2-40B4-BE49-F238E27FC236}">
                <a16:creationId xmlns:a16="http://schemas.microsoft.com/office/drawing/2014/main" id="{AECD4512-03AB-4870-9EAD-D60D0E53E5F2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6872" y="3366350"/>
            <a:ext cx="293076" cy="278739"/>
          </a:xfrm>
          <a:prstGeom prst="rect">
            <a:avLst/>
          </a:prstGeom>
        </p:spPr>
      </p:pic>
      <p:grpSp>
        <p:nvGrpSpPr>
          <p:cNvPr id="17" name="Group 45">
            <a:extLst>
              <a:ext uri="{FF2B5EF4-FFF2-40B4-BE49-F238E27FC236}">
                <a16:creationId xmlns:a16="http://schemas.microsoft.com/office/drawing/2014/main" id="{D0F66028-530C-4816-9AAE-218C5ED4C7EE}"/>
              </a:ext>
            </a:extLst>
          </p:cNvPr>
          <p:cNvGrpSpPr/>
          <p:nvPr/>
        </p:nvGrpSpPr>
        <p:grpSpPr>
          <a:xfrm>
            <a:off x="6231382" y="1304839"/>
            <a:ext cx="4595148" cy="5526987"/>
            <a:chOff x="11123771" y="741683"/>
            <a:chExt cx="9888331" cy="12505331"/>
          </a:xfrm>
        </p:grpSpPr>
        <p:sp>
          <p:nvSpPr>
            <p:cNvPr id="18" name="Arc 46">
              <a:extLst>
                <a:ext uri="{FF2B5EF4-FFF2-40B4-BE49-F238E27FC236}">
                  <a16:creationId xmlns:a16="http://schemas.microsoft.com/office/drawing/2014/main" id="{77F6CF57-75EF-4B08-9B77-9DB61A0DADA3}"/>
                </a:ext>
              </a:extLst>
            </p:cNvPr>
            <p:cNvSpPr/>
            <p:nvPr/>
          </p:nvSpPr>
          <p:spPr>
            <a:xfrm rot="441509">
              <a:off x="12105475" y="3489632"/>
              <a:ext cx="4646484" cy="4781048"/>
            </a:xfrm>
            <a:prstGeom prst="arc">
              <a:avLst>
                <a:gd name="adj1" fmla="val 11593987"/>
                <a:gd name="adj2" fmla="val 303276"/>
              </a:avLst>
            </a:prstGeom>
            <a:noFill/>
            <a:ln w="25400" cap="flat">
              <a:solidFill>
                <a:srgbClr val="002060"/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20" tIns="22860" rIns="45720" bIns="22860" numCol="1" spcCol="38100" rtlCol="0" anchor="t">
              <a:noAutofit/>
            </a:bodyPr>
            <a:lstStyle/>
            <a:p>
              <a:pPr defTabSz="457200" latinLnBrk="1"/>
              <a:endParaRPr lang="en-US" sz="900" dirty="0">
                <a:latin typeface="Calibri" panose="020F0502020204030204"/>
              </a:endParaRPr>
            </a:p>
          </p:txBody>
        </p:sp>
        <p:sp>
          <p:nvSpPr>
            <p:cNvPr id="19" name="Arc 47">
              <a:extLst>
                <a:ext uri="{FF2B5EF4-FFF2-40B4-BE49-F238E27FC236}">
                  <a16:creationId xmlns:a16="http://schemas.microsoft.com/office/drawing/2014/main" id="{9AE8DCDC-E4B0-438B-9B2F-67BF183CF465}"/>
                </a:ext>
              </a:extLst>
            </p:cNvPr>
            <p:cNvSpPr/>
            <p:nvPr/>
          </p:nvSpPr>
          <p:spPr>
            <a:xfrm rot="19883353">
              <a:off x="17302877" y="3584075"/>
              <a:ext cx="2619290" cy="6730024"/>
            </a:xfrm>
            <a:prstGeom prst="arc">
              <a:avLst>
                <a:gd name="adj1" fmla="val 14088632"/>
                <a:gd name="adj2" fmla="val 3801735"/>
              </a:avLst>
            </a:prstGeom>
            <a:noFill/>
            <a:ln w="25400" cap="flat">
              <a:solidFill>
                <a:srgbClr val="002060"/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20" tIns="22860" rIns="45720" bIns="22860" numCol="1" spcCol="38100" rtlCol="0" anchor="t">
              <a:noAutofit/>
            </a:bodyPr>
            <a:lstStyle/>
            <a:p>
              <a:pPr defTabSz="457200" latinLnBrk="1"/>
              <a:endParaRPr lang="en-US" sz="900">
                <a:latin typeface="Calibri" panose="020F0502020204030204"/>
              </a:endParaRPr>
            </a:p>
          </p:txBody>
        </p:sp>
        <p:sp>
          <p:nvSpPr>
            <p:cNvPr id="20" name="Arc 48">
              <a:extLst>
                <a:ext uri="{FF2B5EF4-FFF2-40B4-BE49-F238E27FC236}">
                  <a16:creationId xmlns:a16="http://schemas.microsoft.com/office/drawing/2014/main" id="{43582B71-A0C7-4E93-9AA5-63CCB0922B74}"/>
                </a:ext>
              </a:extLst>
            </p:cNvPr>
            <p:cNvSpPr/>
            <p:nvPr/>
          </p:nvSpPr>
          <p:spPr>
            <a:xfrm rot="17320387">
              <a:off x="15575703" y="5139983"/>
              <a:ext cx="5414782" cy="3312077"/>
            </a:xfrm>
            <a:prstGeom prst="arc">
              <a:avLst>
                <a:gd name="adj1" fmla="val 16305255"/>
                <a:gd name="adj2" fmla="val 2262818"/>
              </a:avLst>
            </a:prstGeom>
            <a:noFill/>
            <a:ln w="25400" cap="flat">
              <a:solidFill>
                <a:srgbClr val="002060"/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20" tIns="22860" rIns="45720" bIns="22860" numCol="1" spcCol="38100" rtlCol="0" anchor="t">
              <a:noAutofit/>
            </a:bodyPr>
            <a:lstStyle/>
            <a:p>
              <a:pPr defTabSz="457200" latinLnBrk="1"/>
              <a:endParaRPr lang="en-US" sz="900" dirty="0">
                <a:latin typeface="Calibri" panose="020F0502020204030204"/>
              </a:endParaRPr>
            </a:p>
          </p:txBody>
        </p:sp>
        <p:sp>
          <p:nvSpPr>
            <p:cNvPr id="21" name="Arc 49">
              <a:extLst>
                <a:ext uri="{FF2B5EF4-FFF2-40B4-BE49-F238E27FC236}">
                  <a16:creationId xmlns:a16="http://schemas.microsoft.com/office/drawing/2014/main" id="{8B1D5B0F-A43C-4779-8BD3-2DD9B1DB05FB}"/>
                </a:ext>
              </a:extLst>
            </p:cNvPr>
            <p:cNvSpPr/>
            <p:nvPr/>
          </p:nvSpPr>
          <p:spPr>
            <a:xfrm rot="21211344">
              <a:off x="13546603" y="2326984"/>
              <a:ext cx="3134513" cy="5439289"/>
            </a:xfrm>
            <a:prstGeom prst="arc">
              <a:avLst>
                <a:gd name="adj1" fmla="val 12927463"/>
                <a:gd name="adj2" fmla="val 2336634"/>
              </a:avLst>
            </a:prstGeom>
            <a:noFill/>
            <a:ln w="25400" cap="flat">
              <a:solidFill>
                <a:srgbClr val="002060"/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20" tIns="22860" rIns="45720" bIns="22860" numCol="1" spcCol="38100" rtlCol="0" anchor="t">
              <a:noAutofit/>
            </a:bodyPr>
            <a:lstStyle/>
            <a:p>
              <a:pPr defTabSz="457200" latinLnBrk="1"/>
              <a:endParaRPr lang="en-US" sz="900" dirty="0">
                <a:latin typeface="Calibri" panose="020F0502020204030204"/>
              </a:endParaRPr>
            </a:p>
          </p:txBody>
        </p:sp>
        <p:sp>
          <p:nvSpPr>
            <p:cNvPr id="22" name="Arc 50">
              <a:extLst>
                <a:ext uri="{FF2B5EF4-FFF2-40B4-BE49-F238E27FC236}">
                  <a16:creationId xmlns:a16="http://schemas.microsoft.com/office/drawing/2014/main" id="{A6459B0F-0BF7-4B66-8BA8-43FAAB30FC68}"/>
                </a:ext>
              </a:extLst>
            </p:cNvPr>
            <p:cNvSpPr/>
            <p:nvPr/>
          </p:nvSpPr>
          <p:spPr>
            <a:xfrm rot="19844386">
              <a:off x="13758383" y="4767871"/>
              <a:ext cx="4095907" cy="8479143"/>
            </a:xfrm>
            <a:prstGeom prst="arc">
              <a:avLst>
                <a:gd name="adj1" fmla="val 13111311"/>
                <a:gd name="adj2" fmla="val 18964411"/>
              </a:avLst>
            </a:prstGeom>
            <a:noFill/>
            <a:ln w="25400" cap="flat">
              <a:solidFill>
                <a:srgbClr val="002060"/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20" tIns="22860" rIns="45720" bIns="22860" numCol="1" spcCol="38100" rtlCol="0" anchor="t">
              <a:noAutofit/>
            </a:bodyPr>
            <a:lstStyle/>
            <a:p>
              <a:pPr defTabSz="457200" latinLnBrk="1"/>
              <a:endParaRPr lang="en-US" sz="900" dirty="0">
                <a:latin typeface="Calibri" panose="020F0502020204030204"/>
              </a:endParaRPr>
            </a:p>
          </p:txBody>
        </p:sp>
        <p:sp>
          <p:nvSpPr>
            <p:cNvPr id="23" name="Arc 51">
              <a:extLst>
                <a:ext uri="{FF2B5EF4-FFF2-40B4-BE49-F238E27FC236}">
                  <a16:creationId xmlns:a16="http://schemas.microsoft.com/office/drawing/2014/main" id="{D319C4EA-0C2D-4DA4-9321-AFF0038D29DD}"/>
                </a:ext>
              </a:extLst>
            </p:cNvPr>
            <p:cNvSpPr/>
            <p:nvPr/>
          </p:nvSpPr>
          <p:spPr>
            <a:xfrm rot="18821427" flipH="1">
              <a:off x="16351843" y="5571548"/>
              <a:ext cx="1977272" cy="4795949"/>
            </a:xfrm>
            <a:prstGeom prst="arc">
              <a:avLst>
                <a:gd name="adj1" fmla="val 15719798"/>
                <a:gd name="adj2" fmla="val 19993256"/>
              </a:avLst>
            </a:prstGeom>
            <a:noFill/>
            <a:ln w="25400" cap="flat">
              <a:solidFill>
                <a:srgbClr val="002060"/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20" tIns="22860" rIns="45720" bIns="22860" numCol="1" spcCol="38100" rtlCol="0" anchor="t">
              <a:noAutofit/>
            </a:bodyPr>
            <a:lstStyle/>
            <a:p>
              <a:pPr defTabSz="457200" latinLnBrk="1"/>
              <a:endParaRPr lang="en-US" sz="900">
                <a:latin typeface="Calibri" panose="020F0502020204030204"/>
              </a:endParaRPr>
            </a:p>
          </p:txBody>
        </p:sp>
        <p:sp>
          <p:nvSpPr>
            <p:cNvPr id="24" name="Oval 52">
              <a:extLst>
                <a:ext uri="{FF2B5EF4-FFF2-40B4-BE49-F238E27FC236}">
                  <a16:creationId xmlns:a16="http://schemas.microsoft.com/office/drawing/2014/main" id="{02EA53FA-08C3-4E0B-A724-90A9959E1477}"/>
                </a:ext>
              </a:extLst>
            </p:cNvPr>
            <p:cNvSpPr/>
            <p:nvPr/>
          </p:nvSpPr>
          <p:spPr>
            <a:xfrm>
              <a:off x="19437341" y="5239877"/>
              <a:ext cx="1125839" cy="946593"/>
            </a:xfrm>
            <a:prstGeom prst="ellipse">
              <a:avLst/>
            </a:prstGeom>
            <a:solidFill>
              <a:schemeClr val="bg1"/>
            </a:solidFill>
            <a:ln w="12700" cap="flat">
              <a:noFill/>
              <a:miter lim="400000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5400" tIns="25400" rIns="25400" bIns="25400" numCol="1" spcCol="38100" rtlCol="0" anchor="ctr">
              <a:spAutoFit/>
            </a:bodyPr>
            <a:lstStyle/>
            <a:p>
              <a:endParaRPr lang="en-US" sz="1600">
                <a:solidFill>
                  <a:srgbClr val="FFFFFF"/>
                </a:solidFill>
              </a:endParaRPr>
            </a:p>
          </p:txBody>
        </p:sp>
        <p:sp>
          <p:nvSpPr>
            <p:cNvPr id="27" name="TextBox 53">
              <a:extLst>
                <a:ext uri="{FF2B5EF4-FFF2-40B4-BE49-F238E27FC236}">
                  <a16:creationId xmlns:a16="http://schemas.microsoft.com/office/drawing/2014/main" id="{07CC92AF-F0BF-441A-AB01-36816FCBFD9F}"/>
                </a:ext>
              </a:extLst>
            </p:cNvPr>
            <p:cNvSpPr txBox="1"/>
            <p:nvPr/>
          </p:nvSpPr>
          <p:spPr>
            <a:xfrm>
              <a:off x="19422594" y="6092326"/>
              <a:ext cx="1185834" cy="394612"/>
            </a:xfrm>
            <a:prstGeom prst="rect">
              <a:avLst/>
            </a:prstGeom>
            <a:solidFill>
              <a:schemeClr val="bg1"/>
            </a:solidFill>
            <a:ln w="12700" cap="flat">
              <a:noFill/>
              <a:miter lim="400000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5400" tIns="25400" rIns="25400" bIns="25400" numCol="1" spcCol="38100" rtlCol="0" anchor="ctr">
              <a:spAutoFit/>
            </a:bodyPr>
            <a:lstStyle/>
            <a:p>
              <a:pPr algn="ctr"/>
              <a:r>
                <a:rPr lang="en-US" sz="800" dirty="0">
                  <a:solidFill>
                    <a:prstClr val="black">
                      <a:lumMod val="95000"/>
                      <a:lumOff val="5000"/>
                    </a:prstClr>
                  </a:solidFill>
                  <a:latin typeface="Calibri" panose="020F0502020204030204"/>
                </a:rPr>
                <a:t>UKRAINE</a:t>
              </a:r>
            </a:p>
          </p:txBody>
        </p:sp>
        <p:sp>
          <p:nvSpPr>
            <p:cNvPr id="28" name="Oval 56">
              <a:extLst>
                <a:ext uri="{FF2B5EF4-FFF2-40B4-BE49-F238E27FC236}">
                  <a16:creationId xmlns:a16="http://schemas.microsoft.com/office/drawing/2014/main" id="{82B672B6-1E4B-48D8-A562-892E8EFFF87E}"/>
                </a:ext>
              </a:extLst>
            </p:cNvPr>
            <p:cNvSpPr/>
            <p:nvPr/>
          </p:nvSpPr>
          <p:spPr>
            <a:xfrm>
              <a:off x="12987538" y="3814189"/>
              <a:ext cx="1125839" cy="946593"/>
            </a:xfrm>
            <a:prstGeom prst="ellipse">
              <a:avLst/>
            </a:prstGeom>
            <a:solidFill>
              <a:schemeClr val="bg1"/>
            </a:solidFill>
            <a:ln w="12700" cap="flat">
              <a:noFill/>
              <a:miter lim="400000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5400" tIns="25400" rIns="25400" bIns="25400" numCol="1" spcCol="38100" rtlCol="0" anchor="ctr">
              <a:spAutoFit/>
            </a:bodyPr>
            <a:lstStyle/>
            <a:p>
              <a:endParaRPr lang="en-US" sz="1600">
                <a:solidFill>
                  <a:srgbClr val="FFFFFF"/>
                </a:solidFill>
              </a:endParaRPr>
            </a:p>
          </p:txBody>
        </p:sp>
        <p:sp>
          <p:nvSpPr>
            <p:cNvPr id="29" name="TextBox 57">
              <a:extLst>
                <a:ext uri="{FF2B5EF4-FFF2-40B4-BE49-F238E27FC236}">
                  <a16:creationId xmlns:a16="http://schemas.microsoft.com/office/drawing/2014/main" id="{DC761B6E-0A52-4F0A-91EB-FE2D87296AE0}"/>
                </a:ext>
              </a:extLst>
            </p:cNvPr>
            <p:cNvSpPr txBox="1"/>
            <p:nvPr/>
          </p:nvSpPr>
          <p:spPr>
            <a:xfrm>
              <a:off x="12554669" y="4663674"/>
              <a:ext cx="1965550" cy="394612"/>
            </a:xfrm>
            <a:prstGeom prst="rect">
              <a:avLst/>
            </a:prstGeom>
            <a:solidFill>
              <a:schemeClr val="bg1"/>
            </a:solidFill>
            <a:ln w="12700" cap="flat">
              <a:noFill/>
              <a:miter lim="400000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5400" tIns="25400" rIns="25400" bIns="25400" numCol="1" spcCol="38100" rtlCol="0" anchor="ctr">
              <a:spAutoFit/>
            </a:bodyPr>
            <a:lstStyle/>
            <a:p>
              <a:pPr algn="ctr"/>
              <a:r>
                <a:rPr lang="en-US" sz="800" dirty="0">
                  <a:solidFill>
                    <a:prstClr val="black">
                      <a:lumMod val="95000"/>
                      <a:lumOff val="5000"/>
                    </a:prstClr>
                  </a:solidFill>
                  <a:latin typeface="Calibri" panose="020F0502020204030204"/>
                </a:rPr>
                <a:t>UNITED KINGDOM</a:t>
              </a:r>
            </a:p>
          </p:txBody>
        </p:sp>
        <p:sp>
          <p:nvSpPr>
            <p:cNvPr id="30" name="Oval 58">
              <a:extLst>
                <a:ext uri="{FF2B5EF4-FFF2-40B4-BE49-F238E27FC236}">
                  <a16:creationId xmlns:a16="http://schemas.microsoft.com/office/drawing/2014/main" id="{6BD791D3-FD26-456F-ACE9-BB40A7FE304C}"/>
                </a:ext>
              </a:extLst>
            </p:cNvPr>
            <p:cNvSpPr/>
            <p:nvPr/>
          </p:nvSpPr>
          <p:spPr>
            <a:xfrm>
              <a:off x="11184818" y="3843861"/>
              <a:ext cx="1125839" cy="946593"/>
            </a:xfrm>
            <a:prstGeom prst="ellipse">
              <a:avLst/>
            </a:prstGeom>
            <a:solidFill>
              <a:schemeClr val="bg1"/>
            </a:solidFill>
            <a:ln w="12700" cap="flat">
              <a:noFill/>
              <a:miter lim="400000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5400" tIns="25400" rIns="25400" bIns="25400" numCol="1" spcCol="38100" rtlCol="0" anchor="ctr">
              <a:spAutoFit/>
            </a:bodyPr>
            <a:lstStyle/>
            <a:p>
              <a:endParaRPr lang="en-US" sz="1600">
                <a:solidFill>
                  <a:srgbClr val="FFFFFF"/>
                </a:solidFill>
              </a:endParaRPr>
            </a:p>
          </p:txBody>
        </p:sp>
        <p:sp>
          <p:nvSpPr>
            <p:cNvPr id="31" name="TextBox 59">
              <a:extLst>
                <a:ext uri="{FF2B5EF4-FFF2-40B4-BE49-F238E27FC236}">
                  <a16:creationId xmlns:a16="http://schemas.microsoft.com/office/drawing/2014/main" id="{9A18C30C-5566-4231-A543-CE3915C259B2}"/>
                </a:ext>
              </a:extLst>
            </p:cNvPr>
            <p:cNvSpPr txBox="1"/>
            <p:nvPr/>
          </p:nvSpPr>
          <p:spPr>
            <a:xfrm>
              <a:off x="11123771" y="4643378"/>
              <a:ext cx="1185834" cy="394612"/>
            </a:xfrm>
            <a:prstGeom prst="rect">
              <a:avLst/>
            </a:prstGeom>
            <a:solidFill>
              <a:schemeClr val="bg1"/>
            </a:solidFill>
            <a:ln w="12700" cap="flat">
              <a:noFill/>
              <a:miter lim="400000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5400" tIns="25400" rIns="25400" bIns="25400" numCol="1" spcCol="38100" rtlCol="0" anchor="ctr">
              <a:spAutoFit/>
            </a:bodyPr>
            <a:lstStyle/>
            <a:p>
              <a:pPr algn="ctr"/>
              <a:r>
                <a:rPr lang="en-US" sz="800" dirty="0">
                  <a:solidFill>
                    <a:prstClr val="black">
                      <a:lumMod val="95000"/>
                      <a:lumOff val="5000"/>
                    </a:prstClr>
                  </a:solidFill>
                  <a:latin typeface="Calibri" panose="020F0502020204030204"/>
                </a:rPr>
                <a:t>IRELAND</a:t>
              </a:r>
            </a:p>
          </p:txBody>
        </p:sp>
        <p:sp>
          <p:nvSpPr>
            <p:cNvPr id="32" name="Oval 60">
              <a:extLst>
                <a:ext uri="{FF2B5EF4-FFF2-40B4-BE49-F238E27FC236}">
                  <a16:creationId xmlns:a16="http://schemas.microsoft.com/office/drawing/2014/main" id="{9DB3A78A-AF5F-402A-BBD7-174329B7D4BA}"/>
                </a:ext>
              </a:extLst>
            </p:cNvPr>
            <p:cNvSpPr/>
            <p:nvPr/>
          </p:nvSpPr>
          <p:spPr>
            <a:xfrm>
              <a:off x="12576823" y="8179594"/>
              <a:ext cx="1125839" cy="946593"/>
            </a:xfrm>
            <a:prstGeom prst="ellipse">
              <a:avLst/>
            </a:prstGeom>
            <a:solidFill>
              <a:schemeClr val="bg1"/>
            </a:solidFill>
            <a:ln w="12700" cap="flat">
              <a:noFill/>
              <a:miter lim="400000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5400" tIns="25400" rIns="25400" bIns="25400" numCol="1" spcCol="38100" rtlCol="0" anchor="ctr">
              <a:spAutoFit/>
            </a:bodyPr>
            <a:lstStyle/>
            <a:p>
              <a:endParaRPr lang="en-US" sz="1600">
                <a:solidFill>
                  <a:srgbClr val="FFFFFF"/>
                </a:solidFill>
              </a:endParaRPr>
            </a:p>
          </p:txBody>
        </p:sp>
        <p:sp>
          <p:nvSpPr>
            <p:cNvPr id="33" name="TextBox 61">
              <a:extLst>
                <a:ext uri="{FF2B5EF4-FFF2-40B4-BE49-F238E27FC236}">
                  <a16:creationId xmlns:a16="http://schemas.microsoft.com/office/drawing/2014/main" id="{30AB3482-4BA5-47C1-855F-817BA9F6CD82}"/>
                </a:ext>
              </a:extLst>
            </p:cNvPr>
            <p:cNvSpPr txBox="1"/>
            <p:nvPr/>
          </p:nvSpPr>
          <p:spPr>
            <a:xfrm>
              <a:off x="12276070" y="9083159"/>
              <a:ext cx="1825086" cy="394612"/>
            </a:xfrm>
            <a:prstGeom prst="rect">
              <a:avLst/>
            </a:prstGeom>
            <a:solidFill>
              <a:schemeClr val="bg1"/>
            </a:solidFill>
            <a:ln w="12700" cap="flat">
              <a:noFill/>
              <a:miter lim="400000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5400" tIns="25400" rIns="25400" bIns="25400" numCol="1" spcCol="38100" rtlCol="0" anchor="ctr">
              <a:spAutoFit/>
            </a:bodyPr>
            <a:lstStyle/>
            <a:p>
              <a:pPr algn="ctr"/>
              <a:r>
                <a:rPr lang="en-US" sz="800" dirty="0">
                  <a:solidFill>
                    <a:prstClr val="black">
                      <a:lumMod val="95000"/>
                      <a:lumOff val="5000"/>
                    </a:prstClr>
                  </a:solidFill>
                  <a:latin typeface="Calibri" panose="020F0502020204030204"/>
                </a:rPr>
                <a:t>SPAIN</a:t>
              </a:r>
            </a:p>
          </p:txBody>
        </p:sp>
        <p:sp>
          <p:nvSpPr>
            <p:cNvPr id="34" name="Oval 62">
              <a:extLst>
                <a:ext uri="{FF2B5EF4-FFF2-40B4-BE49-F238E27FC236}">
                  <a16:creationId xmlns:a16="http://schemas.microsoft.com/office/drawing/2014/main" id="{81720625-4EF3-48F8-B62C-B73A9D9F533C}"/>
                </a:ext>
              </a:extLst>
            </p:cNvPr>
            <p:cNvSpPr/>
            <p:nvPr/>
          </p:nvSpPr>
          <p:spPr>
            <a:xfrm>
              <a:off x="19851813" y="8062760"/>
              <a:ext cx="1125839" cy="946593"/>
            </a:xfrm>
            <a:prstGeom prst="ellipse">
              <a:avLst/>
            </a:prstGeom>
            <a:solidFill>
              <a:schemeClr val="bg1"/>
            </a:solidFill>
            <a:ln w="12700" cap="flat">
              <a:noFill/>
              <a:miter lim="400000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5400" tIns="25400" rIns="25400" bIns="25400" numCol="1" spcCol="38100" rtlCol="0" anchor="ctr">
              <a:spAutoFit/>
            </a:bodyPr>
            <a:lstStyle/>
            <a:p>
              <a:endParaRPr lang="en-US" sz="1600" dirty="0">
                <a:solidFill>
                  <a:srgbClr val="FFFFFF"/>
                </a:solidFill>
              </a:endParaRPr>
            </a:p>
          </p:txBody>
        </p:sp>
        <p:sp>
          <p:nvSpPr>
            <p:cNvPr id="35" name="TextBox 63">
              <a:extLst>
                <a:ext uri="{FF2B5EF4-FFF2-40B4-BE49-F238E27FC236}">
                  <a16:creationId xmlns:a16="http://schemas.microsoft.com/office/drawing/2014/main" id="{61568F64-47B8-40F3-B0C1-D188616E9491}"/>
                </a:ext>
              </a:extLst>
            </p:cNvPr>
            <p:cNvSpPr txBox="1"/>
            <p:nvPr/>
          </p:nvSpPr>
          <p:spPr>
            <a:xfrm>
              <a:off x="19826268" y="8864418"/>
              <a:ext cx="1185834" cy="394612"/>
            </a:xfrm>
            <a:prstGeom prst="rect">
              <a:avLst/>
            </a:prstGeom>
            <a:solidFill>
              <a:schemeClr val="bg1"/>
            </a:solidFill>
            <a:ln w="12700" cap="flat">
              <a:noFill/>
              <a:miter lim="400000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5400" tIns="25400" rIns="25400" bIns="25400" numCol="1" spcCol="38100" rtlCol="0" anchor="ctr">
              <a:spAutoFit/>
            </a:bodyPr>
            <a:lstStyle/>
            <a:p>
              <a:pPr algn="ctr"/>
              <a:r>
                <a:rPr lang="en-US" sz="800" dirty="0">
                  <a:solidFill>
                    <a:prstClr val="black">
                      <a:lumMod val="95000"/>
                      <a:lumOff val="5000"/>
                    </a:prstClr>
                  </a:solidFill>
                  <a:latin typeface="Calibri" panose="020F0502020204030204"/>
                </a:rPr>
                <a:t>TURKEY</a:t>
              </a:r>
            </a:p>
          </p:txBody>
        </p:sp>
        <p:sp>
          <p:nvSpPr>
            <p:cNvPr id="36" name="Oval 64">
              <a:extLst>
                <a:ext uri="{FF2B5EF4-FFF2-40B4-BE49-F238E27FC236}">
                  <a16:creationId xmlns:a16="http://schemas.microsoft.com/office/drawing/2014/main" id="{2F800690-F598-408E-B656-1EDF57F39E87}"/>
                </a:ext>
              </a:extLst>
            </p:cNvPr>
            <p:cNvSpPr/>
            <p:nvPr/>
          </p:nvSpPr>
          <p:spPr>
            <a:xfrm>
              <a:off x="16122373" y="7532601"/>
              <a:ext cx="1125839" cy="946593"/>
            </a:xfrm>
            <a:prstGeom prst="ellipse">
              <a:avLst/>
            </a:prstGeom>
            <a:solidFill>
              <a:schemeClr val="bg1"/>
            </a:solidFill>
            <a:ln w="12700" cap="flat">
              <a:noFill/>
              <a:miter lim="400000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5400" tIns="25400" rIns="25400" bIns="25400" numCol="1" spcCol="38100" rtlCol="0" anchor="ctr">
              <a:spAutoFit/>
            </a:bodyPr>
            <a:lstStyle/>
            <a:p>
              <a:endParaRPr lang="en-US" sz="1600">
                <a:solidFill>
                  <a:srgbClr val="FFFFFF"/>
                </a:solidFill>
              </a:endParaRPr>
            </a:p>
          </p:txBody>
        </p:sp>
        <p:pic>
          <p:nvPicPr>
            <p:cNvPr id="37" name="Picture 65">
              <a:extLst>
                <a:ext uri="{FF2B5EF4-FFF2-40B4-BE49-F238E27FC236}">
                  <a16:creationId xmlns:a16="http://schemas.microsoft.com/office/drawing/2014/main" id="{13DF453F-4FAA-4965-BDF7-939C2295E4B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824406" y="8357550"/>
              <a:ext cx="630672" cy="630671"/>
            </a:xfrm>
            <a:prstGeom prst="rect">
              <a:avLst/>
            </a:prstGeom>
          </p:spPr>
        </p:pic>
        <p:pic>
          <p:nvPicPr>
            <p:cNvPr id="38" name="Picture 66">
              <a:extLst>
                <a:ext uri="{FF2B5EF4-FFF2-40B4-BE49-F238E27FC236}">
                  <a16:creationId xmlns:a16="http://schemas.microsoft.com/office/drawing/2014/main" id="{44E1146F-D7A5-47C6-9D79-13666F39465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20777" y="4030455"/>
              <a:ext cx="630672" cy="630671"/>
            </a:xfrm>
            <a:prstGeom prst="rect">
              <a:avLst/>
            </a:prstGeom>
          </p:spPr>
        </p:pic>
        <p:pic>
          <p:nvPicPr>
            <p:cNvPr id="39" name="Picture 67">
              <a:extLst>
                <a:ext uri="{FF2B5EF4-FFF2-40B4-BE49-F238E27FC236}">
                  <a16:creationId xmlns:a16="http://schemas.microsoft.com/office/drawing/2014/main" id="{72156658-4F0B-42BB-8DCC-B9CB1D911AA5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250271" y="3964419"/>
              <a:ext cx="630672" cy="630673"/>
            </a:xfrm>
            <a:prstGeom prst="rect">
              <a:avLst/>
            </a:prstGeom>
          </p:spPr>
        </p:pic>
        <p:pic>
          <p:nvPicPr>
            <p:cNvPr id="40" name="Picture 69">
              <a:extLst>
                <a:ext uri="{FF2B5EF4-FFF2-40B4-BE49-F238E27FC236}">
                  <a16:creationId xmlns:a16="http://schemas.microsoft.com/office/drawing/2014/main" id="{D7268235-8338-40C4-A50C-6E2D8021B31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074557" y="8194591"/>
              <a:ext cx="630672" cy="630673"/>
            </a:xfrm>
            <a:prstGeom prst="rect">
              <a:avLst/>
            </a:prstGeom>
          </p:spPr>
        </p:pic>
        <p:pic>
          <p:nvPicPr>
            <p:cNvPr id="41" name="Picture 70">
              <a:extLst>
                <a:ext uri="{FF2B5EF4-FFF2-40B4-BE49-F238E27FC236}">
                  <a16:creationId xmlns:a16="http://schemas.microsoft.com/office/drawing/2014/main" id="{2ACCBAF7-AABD-49EB-8BE8-F2E7AD499D6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362076" y="7692726"/>
              <a:ext cx="630672" cy="630673"/>
            </a:xfrm>
            <a:prstGeom prst="rect">
              <a:avLst/>
            </a:prstGeom>
          </p:spPr>
        </p:pic>
        <p:cxnSp>
          <p:nvCxnSpPr>
            <p:cNvPr id="44" name="Straight Connector 73">
              <a:extLst>
                <a:ext uri="{FF2B5EF4-FFF2-40B4-BE49-F238E27FC236}">
                  <a16:creationId xmlns:a16="http://schemas.microsoft.com/office/drawing/2014/main" id="{8EFF4900-86E7-4BC1-9D32-5FB53A125D44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6692502" y="1960457"/>
              <a:ext cx="33877" cy="3888554"/>
            </a:xfrm>
            <a:prstGeom prst="line">
              <a:avLst/>
            </a:prstGeom>
            <a:noFill/>
            <a:ln w="28575" cap="flat">
              <a:solidFill>
                <a:srgbClr val="002060"/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sp>
          <p:nvSpPr>
            <p:cNvPr id="46" name="TextBox 76">
              <a:extLst>
                <a:ext uri="{FF2B5EF4-FFF2-40B4-BE49-F238E27FC236}">
                  <a16:creationId xmlns:a16="http://schemas.microsoft.com/office/drawing/2014/main" id="{2E8AA5ED-95DF-425C-B559-88D0F53E31ED}"/>
                </a:ext>
              </a:extLst>
            </p:cNvPr>
            <p:cNvSpPr txBox="1"/>
            <p:nvPr/>
          </p:nvSpPr>
          <p:spPr>
            <a:xfrm>
              <a:off x="16084495" y="8317538"/>
              <a:ext cx="1185834" cy="394612"/>
            </a:xfrm>
            <a:prstGeom prst="rect">
              <a:avLst/>
            </a:prstGeom>
            <a:solidFill>
              <a:schemeClr val="bg1"/>
            </a:solidFill>
            <a:ln w="12700" cap="flat">
              <a:noFill/>
              <a:miter lim="400000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5400" tIns="25400" rIns="25400" bIns="25400" numCol="1" spcCol="38100" rtlCol="0" anchor="ctr">
              <a:spAutoFit/>
            </a:bodyPr>
            <a:lstStyle/>
            <a:p>
              <a:pPr algn="ctr"/>
              <a:r>
                <a:rPr lang="en-US" sz="800" dirty="0">
                  <a:solidFill>
                    <a:prstClr val="black">
                      <a:lumMod val="95000"/>
                      <a:lumOff val="5000"/>
                    </a:prstClr>
                  </a:solidFill>
                  <a:latin typeface="Calibri" panose="020F0502020204030204"/>
                </a:rPr>
                <a:t>ITALY</a:t>
              </a:r>
            </a:p>
          </p:txBody>
        </p:sp>
        <p:pic>
          <p:nvPicPr>
            <p:cNvPr id="47" name="Picture 77">
              <a:extLst>
                <a:ext uri="{FF2B5EF4-FFF2-40B4-BE49-F238E27FC236}">
                  <a16:creationId xmlns:a16="http://schemas.microsoft.com/office/drawing/2014/main" id="{73160F90-F15B-4349-B412-F0E3B8875CBD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586398" y="741683"/>
              <a:ext cx="2021975" cy="1253624"/>
            </a:xfrm>
            <a:prstGeom prst="rect">
              <a:avLst/>
            </a:prstGeom>
          </p:spPr>
        </p:pic>
        <p:sp>
          <p:nvSpPr>
            <p:cNvPr id="42" name="Oval 71">
              <a:extLst>
                <a:ext uri="{FF2B5EF4-FFF2-40B4-BE49-F238E27FC236}">
                  <a16:creationId xmlns:a16="http://schemas.microsoft.com/office/drawing/2014/main" id="{66D1E791-40EB-4F3C-97F0-50276A98EAB7}"/>
                </a:ext>
              </a:extLst>
            </p:cNvPr>
            <p:cNvSpPr/>
            <p:nvPr/>
          </p:nvSpPr>
          <p:spPr>
            <a:xfrm>
              <a:off x="15792611" y="5797618"/>
              <a:ext cx="1609551" cy="946593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5400" tIns="25400" rIns="25400" bIns="25400" numCol="1" spcCol="38100" rtlCol="0" anchor="ctr">
              <a:spAutoFit/>
            </a:bodyPr>
            <a:lstStyle/>
            <a:p>
              <a:endParaRPr lang="en-US" sz="1600">
                <a:solidFill>
                  <a:srgbClr val="FFFFFF"/>
                </a:solidFill>
              </a:endParaRPr>
            </a:p>
          </p:txBody>
        </p:sp>
        <p:pic>
          <p:nvPicPr>
            <p:cNvPr id="43" name="Picture 72">
              <a:extLst>
                <a:ext uri="{FF2B5EF4-FFF2-40B4-BE49-F238E27FC236}">
                  <a16:creationId xmlns:a16="http://schemas.microsoft.com/office/drawing/2014/main" id="{29454D93-C6D4-498F-9D57-454C9182D97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085414" y="5666621"/>
              <a:ext cx="1023944" cy="1023944"/>
            </a:xfrm>
            <a:prstGeom prst="rect">
              <a:avLst/>
            </a:prstGeom>
          </p:spPr>
        </p:pic>
        <p:sp>
          <p:nvSpPr>
            <p:cNvPr id="45" name="TextBox 75">
              <a:extLst>
                <a:ext uri="{FF2B5EF4-FFF2-40B4-BE49-F238E27FC236}">
                  <a16:creationId xmlns:a16="http://schemas.microsoft.com/office/drawing/2014/main" id="{ACD888BE-9354-4C17-983B-4CA6C8E89EAF}"/>
                </a:ext>
              </a:extLst>
            </p:cNvPr>
            <p:cNvSpPr txBox="1"/>
            <p:nvPr/>
          </p:nvSpPr>
          <p:spPr>
            <a:xfrm>
              <a:off x="17034534" y="6286359"/>
              <a:ext cx="1944878" cy="847253"/>
            </a:xfrm>
            <a:prstGeom prst="rect">
              <a:avLst/>
            </a:prstGeom>
            <a:solidFill>
              <a:schemeClr val="tx1">
                <a:lumMod val="85000"/>
                <a:lumOff val="15000"/>
              </a:schemeClr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5400" tIns="25400" rIns="25400" bIns="25400" numCol="1" spcCol="38100" rtlCol="0" anchor="ctr">
              <a:spAutoFit/>
            </a:bodyPr>
            <a:lstStyle/>
            <a:p>
              <a:pPr algn="l"/>
              <a:r>
                <a:rPr lang="en-US" sz="1050" dirty="0">
                  <a:solidFill>
                    <a:prstClr val="white"/>
                  </a:solidFill>
                  <a:latin typeface="Calibri" panose="020F0502020204030204"/>
                </a:rPr>
                <a:t>Wien</a:t>
              </a:r>
              <a:br>
                <a:rPr lang="en-US" sz="1050" dirty="0">
                  <a:solidFill>
                    <a:prstClr val="white"/>
                  </a:solidFill>
                  <a:latin typeface="Calibri" panose="020F0502020204030204"/>
                </a:rPr>
              </a:br>
              <a:r>
                <a:rPr lang="en-US" sz="1050" dirty="0">
                  <a:solidFill>
                    <a:prstClr val="white"/>
                  </a:solidFill>
                  <a:latin typeface="Calibri" panose="020F0502020204030204"/>
                </a:rPr>
                <a:t>DATA CENTER</a:t>
              </a:r>
            </a:p>
          </p:txBody>
        </p:sp>
      </p:grpSp>
      <p:pic>
        <p:nvPicPr>
          <p:cNvPr id="48" name="Graphic 79" descr="Checkmark">
            <a:extLst>
              <a:ext uri="{FF2B5EF4-FFF2-40B4-BE49-F238E27FC236}">
                <a16:creationId xmlns:a16="http://schemas.microsoft.com/office/drawing/2014/main" id="{181E1DEE-7D33-4DB9-83CA-2A60CE24AE4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39676" y="1685847"/>
            <a:ext cx="228600" cy="228600"/>
          </a:xfrm>
          <a:prstGeom prst="rect">
            <a:avLst/>
          </a:prstGeom>
        </p:spPr>
      </p:pic>
      <p:pic>
        <p:nvPicPr>
          <p:cNvPr id="49" name="Graphic 79" descr="Checkmark">
            <a:extLst>
              <a:ext uri="{FF2B5EF4-FFF2-40B4-BE49-F238E27FC236}">
                <a16:creationId xmlns:a16="http://schemas.microsoft.com/office/drawing/2014/main" id="{9A4DBC66-B615-475E-98B8-230061BDAB2C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39676" y="2483881"/>
            <a:ext cx="228600" cy="228600"/>
          </a:xfrm>
          <a:prstGeom prst="rect">
            <a:avLst/>
          </a:prstGeom>
        </p:spPr>
      </p:pic>
      <p:pic>
        <p:nvPicPr>
          <p:cNvPr id="50" name="Graphic 79" descr="Checkmark">
            <a:extLst>
              <a:ext uri="{FF2B5EF4-FFF2-40B4-BE49-F238E27FC236}">
                <a16:creationId xmlns:a16="http://schemas.microsoft.com/office/drawing/2014/main" id="{DCFFBC18-FB85-4D64-831F-6784A47DA18F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38295" y="3313097"/>
            <a:ext cx="228600" cy="228600"/>
          </a:xfrm>
          <a:prstGeom prst="rect">
            <a:avLst/>
          </a:prstGeom>
        </p:spPr>
      </p:pic>
      <p:pic>
        <p:nvPicPr>
          <p:cNvPr id="51" name="Graphic 79" descr="Checkmark">
            <a:extLst>
              <a:ext uri="{FF2B5EF4-FFF2-40B4-BE49-F238E27FC236}">
                <a16:creationId xmlns:a16="http://schemas.microsoft.com/office/drawing/2014/main" id="{75618FD4-8971-463D-8727-2A75C3829910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11405" y="4142313"/>
            <a:ext cx="228600" cy="228600"/>
          </a:xfrm>
          <a:prstGeom prst="rect">
            <a:avLst/>
          </a:prstGeom>
        </p:spPr>
      </p:pic>
      <p:pic>
        <p:nvPicPr>
          <p:cNvPr id="52" name="Graphic 79" descr="Checkmark">
            <a:extLst>
              <a:ext uri="{FF2B5EF4-FFF2-40B4-BE49-F238E27FC236}">
                <a16:creationId xmlns:a16="http://schemas.microsoft.com/office/drawing/2014/main" id="{9FD8E672-4E26-4C28-AE06-6A8E75B91025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38295" y="4964428"/>
            <a:ext cx="228600" cy="228600"/>
          </a:xfrm>
          <a:prstGeom prst="rect">
            <a:avLst/>
          </a:prstGeom>
        </p:spPr>
      </p:pic>
      <p:pic>
        <p:nvPicPr>
          <p:cNvPr id="53" name="Picture 69">
            <a:extLst>
              <a:ext uri="{FF2B5EF4-FFF2-40B4-BE49-F238E27FC236}">
                <a16:creationId xmlns:a16="http://schemas.microsoft.com/office/drawing/2014/main" id="{BE920A97-E1A8-4BE9-98B9-C8A0E03E8F41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6872" y="3338551"/>
            <a:ext cx="293076" cy="278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827660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uiExpand="1" build="p" bldLvl="2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7451" y="5996416"/>
            <a:ext cx="1756524" cy="1171015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9505" y="6223347"/>
            <a:ext cx="1400751" cy="700376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994" y="6444768"/>
            <a:ext cx="1097238" cy="27431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2698506" y="315357"/>
            <a:ext cx="9144000" cy="688925"/>
          </a:xfrm>
        </p:spPr>
        <p:txBody>
          <a:bodyPr>
            <a:normAutofit/>
          </a:bodyPr>
          <a:lstStyle/>
          <a:p>
            <a:pPr algn="l"/>
            <a:r>
              <a:rPr lang="de-DE" sz="3600" dirty="0"/>
              <a:t>Remote Proben</a:t>
            </a:r>
          </a:p>
        </p:txBody>
      </p:sp>
      <p:pic>
        <p:nvPicPr>
          <p:cNvPr id="13" name="Grafik 12" descr="Ein Bild, das Objekt enthält.&#10;&#10;Mit hoher Zuverlässigkeit generierte Beschreibung">
            <a:extLst>
              <a:ext uri="{FF2B5EF4-FFF2-40B4-BE49-F238E27FC236}">
                <a16:creationId xmlns:a16="http://schemas.microsoft.com/office/drawing/2014/main" id="{E5AA72CE-8D17-4FBE-B09F-3FB0C215A16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9094" y="6318652"/>
            <a:ext cx="1049094" cy="431555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36FF77F4-36EF-4017-AB71-867871747EB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7675" y="6343150"/>
            <a:ext cx="2116822" cy="527882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E896EA5B-18A3-4F5A-8BF9-BF78D41D1208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048" y="315357"/>
            <a:ext cx="2223164" cy="779950"/>
          </a:xfrm>
          <a:prstGeom prst="rect">
            <a:avLst/>
          </a:prstGeom>
        </p:spPr>
      </p:pic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77DAEFD1-6AC5-40F5-B377-C0E412D4D2DB}"/>
              </a:ext>
            </a:extLst>
          </p:cNvPr>
          <p:cNvGrpSpPr/>
          <p:nvPr/>
        </p:nvGrpSpPr>
        <p:grpSpPr>
          <a:xfrm>
            <a:off x="2292624" y="1261130"/>
            <a:ext cx="7813310" cy="914400"/>
            <a:chOff x="2292624" y="1261130"/>
            <a:chExt cx="7813310" cy="914400"/>
          </a:xfrm>
        </p:grpSpPr>
        <p:sp>
          <p:nvSpPr>
            <p:cNvPr id="28" name="Oval 21">
              <a:extLst>
                <a:ext uri="{FF2B5EF4-FFF2-40B4-BE49-F238E27FC236}">
                  <a16:creationId xmlns:a16="http://schemas.microsoft.com/office/drawing/2014/main" id="{47400A8F-7CC0-4D4D-B644-A3580FDC669A}"/>
                </a:ext>
              </a:extLst>
            </p:cNvPr>
            <p:cNvSpPr/>
            <p:nvPr/>
          </p:nvSpPr>
          <p:spPr>
            <a:xfrm>
              <a:off x="2292624" y="1261130"/>
              <a:ext cx="914400" cy="914400"/>
            </a:xfrm>
            <a:prstGeom prst="ellipse">
              <a:avLst/>
            </a:prstGeom>
            <a:solidFill>
              <a:srgbClr val="533F6F"/>
            </a:solidFill>
            <a:ln w="12700" cap="flat">
              <a:noFill/>
              <a:miter lim="400000"/>
            </a:ln>
            <a:effectLst>
              <a:outerShdw blurRad="38100" dist="25400" dir="5400000" rotWithShape="0">
                <a:srgbClr val="000000">
                  <a:alpha val="50000"/>
                </a:srgb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5400" tIns="25400" rIns="25400" bIns="25400" numCol="1" spcCol="38100" rtlCol="0" anchor="ctr">
              <a:spAutoFit/>
            </a:bodyPr>
            <a:lstStyle/>
            <a:p>
              <a:pPr algn="ctr" defTabSz="412750" hangingPunct="0"/>
              <a:endParaRPr lang="en-US" sz="160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endParaRPr>
            </a:p>
          </p:txBody>
        </p:sp>
        <p:sp>
          <p:nvSpPr>
            <p:cNvPr id="31" name="Shape">
              <a:extLst>
                <a:ext uri="{FF2B5EF4-FFF2-40B4-BE49-F238E27FC236}">
                  <a16:creationId xmlns:a16="http://schemas.microsoft.com/office/drawing/2014/main" id="{32BC7C13-85DF-4135-8550-70F9BAA88181}"/>
                </a:ext>
              </a:extLst>
            </p:cNvPr>
            <p:cNvSpPr/>
            <p:nvPr/>
          </p:nvSpPr>
          <p:spPr>
            <a:xfrm>
              <a:off x="2582638" y="1467000"/>
              <a:ext cx="352669" cy="54191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2" h="21600" extrusionOk="0">
                  <a:moveTo>
                    <a:pt x="9810" y="0"/>
                  </a:moveTo>
                  <a:cubicBezTo>
                    <a:pt x="7302" y="0"/>
                    <a:pt x="4789" y="661"/>
                    <a:pt x="2847" y="1985"/>
                  </a:cubicBezTo>
                  <a:cubicBezTo>
                    <a:pt x="-902" y="4541"/>
                    <a:pt x="-972" y="8768"/>
                    <a:pt x="2776" y="11386"/>
                  </a:cubicBezTo>
                  <a:lnTo>
                    <a:pt x="5062" y="14448"/>
                  </a:lnTo>
                  <a:lnTo>
                    <a:pt x="6821" y="13826"/>
                  </a:lnTo>
                  <a:lnTo>
                    <a:pt x="4464" y="10573"/>
                  </a:lnTo>
                  <a:lnTo>
                    <a:pt x="4359" y="10525"/>
                  </a:lnTo>
                  <a:cubicBezTo>
                    <a:pt x="1296" y="8436"/>
                    <a:pt x="1296" y="5007"/>
                    <a:pt x="4359" y="2918"/>
                  </a:cubicBezTo>
                  <a:cubicBezTo>
                    <a:pt x="7422" y="830"/>
                    <a:pt x="12410" y="830"/>
                    <a:pt x="15473" y="2918"/>
                  </a:cubicBezTo>
                  <a:cubicBezTo>
                    <a:pt x="18535" y="5007"/>
                    <a:pt x="18535" y="8436"/>
                    <a:pt x="15473" y="10525"/>
                  </a:cubicBezTo>
                  <a:lnTo>
                    <a:pt x="13011" y="13826"/>
                  </a:lnTo>
                  <a:lnTo>
                    <a:pt x="14769" y="14448"/>
                  </a:lnTo>
                  <a:lnTo>
                    <a:pt x="16880" y="11386"/>
                  </a:lnTo>
                  <a:cubicBezTo>
                    <a:pt x="20628" y="8768"/>
                    <a:pt x="20624" y="4604"/>
                    <a:pt x="16739" y="1985"/>
                  </a:cubicBezTo>
                  <a:cubicBezTo>
                    <a:pt x="14819" y="661"/>
                    <a:pt x="12319" y="0"/>
                    <a:pt x="9810" y="0"/>
                  </a:cubicBezTo>
                  <a:close/>
                  <a:moveTo>
                    <a:pt x="9916" y="2631"/>
                  </a:moveTo>
                  <a:cubicBezTo>
                    <a:pt x="6754" y="2631"/>
                    <a:pt x="4078" y="4506"/>
                    <a:pt x="4078" y="6746"/>
                  </a:cubicBezTo>
                  <a:lnTo>
                    <a:pt x="6047" y="6746"/>
                  </a:lnTo>
                  <a:cubicBezTo>
                    <a:pt x="6047" y="5232"/>
                    <a:pt x="7838" y="4019"/>
                    <a:pt x="9916" y="4019"/>
                  </a:cubicBezTo>
                  <a:lnTo>
                    <a:pt x="9916" y="2631"/>
                  </a:lnTo>
                  <a:close/>
                  <a:moveTo>
                    <a:pt x="13925" y="14902"/>
                  </a:moveTo>
                  <a:lnTo>
                    <a:pt x="5906" y="15572"/>
                  </a:lnTo>
                  <a:lnTo>
                    <a:pt x="6117" y="16936"/>
                  </a:lnTo>
                  <a:lnTo>
                    <a:pt x="10127" y="16601"/>
                  </a:lnTo>
                  <a:lnTo>
                    <a:pt x="14172" y="16266"/>
                  </a:lnTo>
                  <a:lnTo>
                    <a:pt x="13925" y="14902"/>
                  </a:lnTo>
                  <a:close/>
                  <a:moveTo>
                    <a:pt x="13925" y="16816"/>
                  </a:moveTo>
                  <a:lnTo>
                    <a:pt x="5906" y="17486"/>
                  </a:lnTo>
                  <a:lnTo>
                    <a:pt x="6117" y="18849"/>
                  </a:lnTo>
                  <a:lnTo>
                    <a:pt x="10127" y="18538"/>
                  </a:lnTo>
                  <a:lnTo>
                    <a:pt x="14172" y="18179"/>
                  </a:lnTo>
                  <a:lnTo>
                    <a:pt x="13925" y="16816"/>
                  </a:lnTo>
                  <a:close/>
                  <a:moveTo>
                    <a:pt x="6926" y="19567"/>
                  </a:moveTo>
                  <a:cubicBezTo>
                    <a:pt x="6926" y="20725"/>
                    <a:pt x="8184" y="21600"/>
                    <a:pt x="9810" y="21600"/>
                  </a:cubicBezTo>
                  <a:cubicBezTo>
                    <a:pt x="11391" y="21600"/>
                    <a:pt x="12730" y="20725"/>
                    <a:pt x="12730" y="19567"/>
                  </a:cubicBezTo>
                  <a:lnTo>
                    <a:pt x="10795" y="19567"/>
                  </a:lnTo>
                  <a:cubicBezTo>
                    <a:pt x="10795" y="19974"/>
                    <a:pt x="10398" y="20260"/>
                    <a:pt x="9810" y="20260"/>
                  </a:cubicBezTo>
                  <a:cubicBezTo>
                    <a:pt x="9223" y="20260"/>
                    <a:pt x="8896" y="19974"/>
                    <a:pt x="8896" y="19567"/>
                  </a:cubicBezTo>
                  <a:lnTo>
                    <a:pt x="6926" y="19567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>
              <a:miter lim="400000"/>
            </a:ln>
          </p:spPr>
          <p:txBody>
            <a:bodyPr lIns="22860" rIns="22860" anchor="ctr"/>
            <a:lstStyle/>
            <a:p>
              <a:pPr defTabSz="228600">
                <a:lnSpc>
                  <a:spcPct val="93000"/>
                </a:lnSpc>
                <a:defRPr sz="1800">
                  <a:latin typeface="Open Sans"/>
                  <a:ea typeface="Open Sans"/>
                  <a:cs typeface="Open Sans"/>
                  <a:sym typeface="Open Sans"/>
                </a:defRPr>
              </a:pPr>
              <a:endParaRPr sz="900"/>
            </a:p>
          </p:txBody>
        </p:sp>
        <p:sp>
          <p:nvSpPr>
            <p:cNvPr id="32" name="There are many variations of passages…">
              <a:extLst>
                <a:ext uri="{FF2B5EF4-FFF2-40B4-BE49-F238E27FC236}">
                  <a16:creationId xmlns:a16="http://schemas.microsoft.com/office/drawing/2014/main" id="{735DEBFD-C0A4-4940-BEE7-885E71FB5BD0}"/>
                </a:ext>
              </a:extLst>
            </p:cNvPr>
            <p:cNvSpPr txBox="1">
              <a:spLocks/>
            </p:cNvSpPr>
            <p:nvPr/>
          </p:nvSpPr>
          <p:spPr>
            <a:xfrm>
              <a:off x="3617780" y="1351466"/>
              <a:ext cx="6488154" cy="733727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25400" tIns="25400" rIns="25400" bIns="25400" anchor="ctr">
              <a:spAutoFit/>
            </a:bodyPr>
            <a:lstStyle>
              <a:lvl1pPr marL="232019" marR="0" indent="-232019" algn="l" defTabSz="825500" latinLnBrk="0">
                <a:lnSpc>
                  <a:spcPct val="130000"/>
                </a:lnSpc>
                <a:spcBef>
                  <a:spcPts val="5200"/>
                </a:spcBef>
                <a:spcAft>
                  <a:spcPts val="0"/>
                </a:spcAft>
                <a:buClrTx/>
                <a:buSzPct val="75000"/>
                <a:buFontTx/>
                <a:buChar char="•"/>
                <a:tabLst/>
                <a:defRPr sz="1900" b="0" i="0" u="none" strike="noStrike" cap="none" spc="0" baseline="0">
                  <a:ln>
                    <a:noFill/>
                  </a:ln>
                  <a:solidFill>
                    <a:srgbClr val="888B8C"/>
                  </a:solidFill>
                  <a:uFillTx/>
                  <a:latin typeface="Open Sans"/>
                  <a:ea typeface="Open Sans"/>
                  <a:cs typeface="Open Sans"/>
                  <a:sym typeface="Open Sans"/>
                </a:defRPr>
              </a:lvl1pPr>
              <a:lvl2pPr marL="867019" marR="0" indent="-232019" algn="l" defTabSz="825500" latinLnBrk="0">
                <a:lnSpc>
                  <a:spcPct val="130000"/>
                </a:lnSpc>
                <a:spcBef>
                  <a:spcPts val="5200"/>
                </a:spcBef>
                <a:spcAft>
                  <a:spcPts val="0"/>
                </a:spcAft>
                <a:buClrTx/>
                <a:buSzPct val="75000"/>
                <a:buFontTx/>
                <a:buChar char="•"/>
                <a:tabLst/>
                <a:defRPr sz="1900" b="0" i="0" u="none" strike="noStrike" cap="none" spc="0" baseline="0">
                  <a:ln>
                    <a:noFill/>
                  </a:ln>
                  <a:solidFill>
                    <a:srgbClr val="888B8C"/>
                  </a:solidFill>
                  <a:uFillTx/>
                  <a:latin typeface="Open Sans"/>
                  <a:ea typeface="Open Sans"/>
                  <a:cs typeface="Open Sans"/>
                  <a:sym typeface="Open Sans"/>
                </a:defRPr>
              </a:lvl2pPr>
              <a:lvl3pPr marL="1502019" marR="0" indent="-232019" algn="l" defTabSz="825500" latinLnBrk="0">
                <a:lnSpc>
                  <a:spcPct val="130000"/>
                </a:lnSpc>
                <a:spcBef>
                  <a:spcPts val="5200"/>
                </a:spcBef>
                <a:spcAft>
                  <a:spcPts val="0"/>
                </a:spcAft>
                <a:buClrTx/>
                <a:buSzPct val="75000"/>
                <a:buFontTx/>
                <a:buChar char="•"/>
                <a:tabLst/>
                <a:defRPr sz="1900" b="0" i="0" u="none" strike="noStrike" cap="none" spc="0" baseline="0">
                  <a:ln>
                    <a:noFill/>
                  </a:ln>
                  <a:solidFill>
                    <a:srgbClr val="888B8C"/>
                  </a:solidFill>
                  <a:uFillTx/>
                  <a:latin typeface="Open Sans"/>
                  <a:ea typeface="Open Sans"/>
                  <a:cs typeface="Open Sans"/>
                  <a:sym typeface="Open Sans"/>
                </a:defRPr>
              </a:lvl3pPr>
              <a:lvl4pPr marL="2137019" marR="0" indent="-232019" algn="l" defTabSz="825500" latinLnBrk="0">
                <a:lnSpc>
                  <a:spcPct val="130000"/>
                </a:lnSpc>
                <a:spcBef>
                  <a:spcPts val="5200"/>
                </a:spcBef>
                <a:spcAft>
                  <a:spcPts val="0"/>
                </a:spcAft>
                <a:buClrTx/>
                <a:buSzPct val="75000"/>
                <a:buFontTx/>
                <a:buChar char="•"/>
                <a:tabLst/>
                <a:defRPr sz="1900" b="0" i="0" u="none" strike="noStrike" cap="none" spc="0" baseline="0">
                  <a:ln>
                    <a:noFill/>
                  </a:ln>
                  <a:solidFill>
                    <a:srgbClr val="888B8C"/>
                  </a:solidFill>
                  <a:uFillTx/>
                  <a:latin typeface="Open Sans"/>
                  <a:ea typeface="Open Sans"/>
                  <a:cs typeface="Open Sans"/>
                  <a:sym typeface="Open Sans"/>
                </a:defRPr>
              </a:lvl4pPr>
              <a:lvl5pPr marL="2772019" marR="0" indent="-232019" algn="l" defTabSz="825500" latinLnBrk="0">
                <a:lnSpc>
                  <a:spcPct val="130000"/>
                </a:lnSpc>
                <a:spcBef>
                  <a:spcPts val="5200"/>
                </a:spcBef>
                <a:spcAft>
                  <a:spcPts val="0"/>
                </a:spcAft>
                <a:buClrTx/>
                <a:buSzPct val="75000"/>
                <a:buFontTx/>
                <a:buChar char="•"/>
                <a:tabLst/>
                <a:defRPr sz="1900" b="0" i="0" u="none" strike="noStrike" cap="none" spc="0" baseline="0">
                  <a:ln>
                    <a:noFill/>
                  </a:ln>
                  <a:solidFill>
                    <a:srgbClr val="888B8C"/>
                  </a:solidFill>
                  <a:uFillTx/>
                  <a:latin typeface="Open Sans"/>
                  <a:ea typeface="Open Sans"/>
                  <a:cs typeface="Open Sans"/>
                  <a:sym typeface="Open Sans"/>
                </a:defRPr>
              </a:lvl5pPr>
              <a:lvl6pPr marL="3407019" marR="0" indent="-232019" algn="l" defTabSz="825500" latinLnBrk="0">
                <a:lnSpc>
                  <a:spcPct val="130000"/>
                </a:lnSpc>
                <a:spcBef>
                  <a:spcPts val="5200"/>
                </a:spcBef>
                <a:spcAft>
                  <a:spcPts val="0"/>
                </a:spcAft>
                <a:buClrTx/>
                <a:buSzPct val="75000"/>
                <a:buFontTx/>
                <a:buChar char="•"/>
                <a:tabLst/>
                <a:defRPr sz="1900" b="0" i="0" u="none" strike="noStrike" cap="none" spc="0" baseline="0">
                  <a:ln>
                    <a:noFill/>
                  </a:ln>
                  <a:solidFill>
                    <a:srgbClr val="888B8C"/>
                  </a:solidFill>
                  <a:uFillTx/>
                  <a:latin typeface="Open Sans"/>
                  <a:ea typeface="Open Sans"/>
                  <a:cs typeface="Open Sans"/>
                  <a:sym typeface="Open Sans"/>
                </a:defRPr>
              </a:lvl6pPr>
              <a:lvl7pPr marL="4042019" marR="0" indent="-232019" algn="l" defTabSz="825500" latinLnBrk="0">
                <a:lnSpc>
                  <a:spcPct val="130000"/>
                </a:lnSpc>
                <a:spcBef>
                  <a:spcPts val="5200"/>
                </a:spcBef>
                <a:spcAft>
                  <a:spcPts val="0"/>
                </a:spcAft>
                <a:buClrTx/>
                <a:buSzPct val="75000"/>
                <a:buFontTx/>
                <a:buChar char="•"/>
                <a:tabLst/>
                <a:defRPr sz="1900" b="0" i="0" u="none" strike="noStrike" cap="none" spc="0" baseline="0">
                  <a:ln>
                    <a:noFill/>
                  </a:ln>
                  <a:solidFill>
                    <a:srgbClr val="888B8C"/>
                  </a:solidFill>
                  <a:uFillTx/>
                  <a:latin typeface="Open Sans"/>
                  <a:ea typeface="Open Sans"/>
                  <a:cs typeface="Open Sans"/>
                  <a:sym typeface="Open Sans"/>
                </a:defRPr>
              </a:lvl7pPr>
              <a:lvl8pPr marL="4677019" marR="0" indent="-232019" algn="l" defTabSz="825500" latinLnBrk="0">
                <a:lnSpc>
                  <a:spcPct val="130000"/>
                </a:lnSpc>
                <a:spcBef>
                  <a:spcPts val="5200"/>
                </a:spcBef>
                <a:spcAft>
                  <a:spcPts val="0"/>
                </a:spcAft>
                <a:buClrTx/>
                <a:buSzPct val="75000"/>
                <a:buFontTx/>
                <a:buChar char="•"/>
                <a:tabLst/>
                <a:defRPr sz="1900" b="0" i="0" u="none" strike="noStrike" cap="none" spc="0" baseline="0">
                  <a:ln>
                    <a:noFill/>
                  </a:ln>
                  <a:solidFill>
                    <a:srgbClr val="888B8C"/>
                  </a:solidFill>
                  <a:uFillTx/>
                  <a:latin typeface="Open Sans"/>
                  <a:ea typeface="Open Sans"/>
                  <a:cs typeface="Open Sans"/>
                  <a:sym typeface="Open Sans"/>
                </a:defRPr>
              </a:lvl8pPr>
              <a:lvl9pPr marL="5312019" marR="0" indent="-232019" algn="l" defTabSz="825500" latinLnBrk="0">
                <a:lnSpc>
                  <a:spcPct val="130000"/>
                </a:lnSpc>
                <a:spcBef>
                  <a:spcPts val="5200"/>
                </a:spcBef>
                <a:spcAft>
                  <a:spcPts val="0"/>
                </a:spcAft>
                <a:buClrTx/>
                <a:buSzPct val="75000"/>
                <a:buFontTx/>
                <a:buChar char="•"/>
                <a:tabLst/>
                <a:defRPr sz="1900" b="0" i="0" u="none" strike="noStrike" cap="none" spc="0" baseline="0">
                  <a:ln>
                    <a:noFill/>
                  </a:ln>
                  <a:solidFill>
                    <a:srgbClr val="888B8C"/>
                  </a:solidFill>
                  <a:uFillTx/>
                  <a:latin typeface="Open Sans"/>
                  <a:ea typeface="Open Sans"/>
                  <a:cs typeface="Open Sans"/>
                  <a:sym typeface="Open Sans"/>
                </a:defRPr>
              </a:lvl9pPr>
            </a:lstStyle>
            <a:p>
              <a:pPr marL="0" indent="0">
                <a:spcBef>
                  <a:spcPts val="0"/>
                </a:spcBef>
                <a:buSzTx/>
                <a:buNone/>
              </a:pPr>
              <a:r>
                <a:rPr lang="de-DE" sz="1800" b="1" dirty="0">
                  <a:solidFill>
                    <a:srgbClr val="533F6F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Gewinnen Sie Einblicke </a:t>
              </a:r>
              <a:r>
                <a:rPr lang="de-DE" sz="1800" dirty="0">
                  <a:solidFill>
                    <a:srgbClr val="323232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in die Anwendungsleistung und den Zustand von außerhalb des Rechenzentrums (360°-Sicht)</a:t>
              </a:r>
            </a:p>
          </p:txBody>
        </p:sp>
      </p:grp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21B371F7-AEEC-4D29-98F7-151A5F2FC0F5}"/>
              </a:ext>
            </a:extLst>
          </p:cNvPr>
          <p:cNvGrpSpPr/>
          <p:nvPr/>
        </p:nvGrpSpPr>
        <p:grpSpPr>
          <a:xfrm>
            <a:off x="2285403" y="2542802"/>
            <a:ext cx="7805030" cy="914400"/>
            <a:chOff x="2285403" y="2542802"/>
            <a:chExt cx="7805030" cy="914400"/>
          </a:xfrm>
        </p:grpSpPr>
        <p:sp>
          <p:nvSpPr>
            <p:cNvPr id="26" name="Oval 19">
              <a:extLst>
                <a:ext uri="{FF2B5EF4-FFF2-40B4-BE49-F238E27FC236}">
                  <a16:creationId xmlns:a16="http://schemas.microsoft.com/office/drawing/2014/main" id="{C44C61CF-E809-4A26-931D-4ADC2B32B002}"/>
                </a:ext>
              </a:extLst>
            </p:cNvPr>
            <p:cNvSpPr/>
            <p:nvPr/>
          </p:nvSpPr>
          <p:spPr>
            <a:xfrm>
              <a:off x="2285403" y="2542802"/>
              <a:ext cx="914400" cy="914400"/>
            </a:xfrm>
            <a:prstGeom prst="ellipse">
              <a:avLst/>
            </a:prstGeom>
            <a:solidFill>
              <a:srgbClr val="53C2E5"/>
            </a:solidFill>
            <a:ln w="12700" cap="flat">
              <a:noFill/>
              <a:miter lim="400000"/>
            </a:ln>
            <a:effectLst>
              <a:outerShdw blurRad="38100" dist="25400" dir="5400000" rotWithShape="0">
                <a:srgbClr val="000000">
                  <a:alpha val="50000"/>
                </a:srgb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5400" tIns="25400" rIns="25400" bIns="25400" numCol="1" spcCol="38100" rtlCol="0" anchor="ctr">
              <a:spAutoFit/>
            </a:bodyPr>
            <a:lstStyle/>
            <a:p>
              <a:pPr algn="ctr" defTabSz="412750" hangingPunct="0"/>
              <a:endParaRPr lang="en-US" sz="160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endParaRPr>
            </a:p>
          </p:txBody>
        </p:sp>
        <p:sp>
          <p:nvSpPr>
            <p:cNvPr id="34" name="There are many variations of passages…">
              <a:extLst>
                <a:ext uri="{FF2B5EF4-FFF2-40B4-BE49-F238E27FC236}">
                  <a16:creationId xmlns:a16="http://schemas.microsoft.com/office/drawing/2014/main" id="{34313BB9-D6DE-4700-BECF-F9DB034832F1}"/>
                </a:ext>
              </a:extLst>
            </p:cNvPr>
            <p:cNvSpPr txBox="1">
              <a:spLocks/>
            </p:cNvSpPr>
            <p:nvPr/>
          </p:nvSpPr>
          <p:spPr>
            <a:xfrm>
              <a:off x="3617779" y="2633138"/>
              <a:ext cx="6472654" cy="733727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25400" tIns="25400" rIns="25400" bIns="25400" anchor="ctr">
              <a:spAutoFit/>
            </a:bodyPr>
            <a:lstStyle>
              <a:lvl1pPr marL="232019" marR="0" indent="-232019" algn="l" defTabSz="825500" latinLnBrk="0">
                <a:lnSpc>
                  <a:spcPct val="130000"/>
                </a:lnSpc>
                <a:spcBef>
                  <a:spcPts val="5200"/>
                </a:spcBef>
                <a:spcAft>
                  <a:spcPts val="0"/>
                </a:spcAft>
                <a:buClrTx/>
                <a:buSzPct val="75000"/>
                <a:buFontTx/>
                <a:buChar char="•"/>
                <a:tabLst/>
                <a:defRPr sz="1900" b="0" i="0" u="none" strike="noStrike" cap="none" spc="0" baseline="0">
                  <a:ln>
                    <a:noFill/>
                  </a:ln>
                  <a:solidFill>
                    <a:srgbClr val="888B8C"/>
                  </a:solidFill>
                  <a:uFillTx/>
                  <a:latin typeface="Open Sans"/>
                  <a:ea typeface="Open Sans"/>
                  <a:cs typeface="Open Sans"/>
                  <a:sym typeface="Open Sans"/>
                </a:defRPr>
              </a:lvl1pPr>
              <a:lvl2pPr marL="867019" marR="0" indent="-232019" algn="l" defTabSz="825500" latinLnBrk="0">
                <a:lnSpc>
                  <a:spcPct val="130000"/>
                </a:lnSpc>
                <a:spcBef>
                  <a:spcPts val="5200"/>
                </a:spcBef>
                <a:spcAft>
                  <a:spcPts val="0"/>
                </a:spcAft>
                <a:buClrTx/>
                <a:buSzPct val="75000"/>
                <a:buFontTx/>
                <a:buChar char="•"/>
                <a:tabLst/>
                <a:defRPr sz="1900" b="0" i="0" u="none" strike="noStrike" cap="none" spc="0" baseline="0">
                  <a:ln>
                    <a:noFill/>
                  </a:ln>
                  <a:solidFill>
                    <a:srgbClr val="888B8C"/>
                  </a:solidFill>
                  <a:uFillTx/>
                  <a:latin typeface="Open Sans"/>
                  <a:ea typeface="Open Sans"/>
                  <a:cs typeface="Open Sans"/>
                  <a:sym typeface="Open Sans"/>
                </a:defRPr>
              </a:lvl2pPr>
              <a:lvl3pPr marL="1502019" marR="0" indent="-232019" algn="l" defTabSz="825500" latinLnBrk="0">
                <a:lnSpc>
                  <a:spcPct val="130000"/>
                </a:lnSpc>
                <a:spcBef>
                  <a:spcPts val="5200"/>
                </a:spcBef>
                <a:spcAft>
                  <a:spcPts val="0"/>
                </a:spcAft>
                <a:buClrTx/>
                <a:buSzPct val="75000"/>
                <a:buFontTx/>
                <a:buChar char="•"/>
                <a:tabLst/>
                <a:defRPr sz="1900" b="0" i="0" u="none" strike="noStrike" cap="none" spc="0" baseline="0">
                  <a:ln>
                    <a:noFill/>
                  </a:ln>
                  <a:solidFill>
                    <a:srgbClr val="888B8C"/>
                  </a:solidFill>
                  <a:uFillTx/>
                  <a:latin typeface="Open Sans"/>
                  <a:ea typeface="Open Sans"/>
                  <a:cs typeface="Open Sans"/>
                  <a:sym typeface="Open Sans"/>
                </a:defRPr>
              </a:lvl3pPr>
              <a:lvl4pPr marL="2137019" marR="0" indent="-232019" algn="l" defTabSz="825500" latinLnBrk="0">
                <a:lnSpc>
                  <a:spcPct val="130000"/>
                </a:lnSpc>
                <a:spcBef>
                  <a:spcPts val="5200"/>
                </a:spcBef>
                <a:spcAft>
                  <a:spcPts val="0"/>
                </a:spcAft>
                <a:buClrTx/>
                <a:buSzPct val="75000"/>
                <a:buFontTx/>
                <a:buChar char="•"/>
                <a:tabLst/>
                <a:defRPr sz="1900" b="0" i="0" u="none" strike="noStrike" cap="none" spc="0" baseline="0">
                  <a:ln>
                    <a:noFill/>
                  </a:ln>
                  <a:solidFill>
                    <a:srgbClr val="888B8C"/>
                  </a:solidFill>
                  <a:uFillTx/>
                  <a:latin typeface="Open Sans"/>
                  <a:ea typeface="Open Sans"/>
                  <a:cs typeface="Open Sans"/>
                  <a:sym typeface="Open Sans"/>
                </a:defRPr>
              </a:lvl4pPr>
              <a:lvl5pPr marL="2772019" marR="0" indent="-232019" algn="l" defTabSz="825500" latinLnBrk="0">
                <a:lnSpc>
                  <a:spcPct val="130000"/>
                </a:lnSpc>
                <a:spcBef>
                  <a:spcPts val="5200"/>
                </a:spcBef>
                <a:spcAft>
                  <a:spcPts val="0"/>
                </a:spcAft>
                <a:buClrTx/>
                <a:buSzPct val="75000"/>
                <a:buFontTx/>
                <a:buChar char="•"/>
                <a:tabLst/>
                <a:defRPr sz="1900" b="0" i="0" u="none" strike="noStrike" cap="none" spc="0" baseline="0">
                  <a:ln>
                    <a:noFill/>
                  </a:ln>
                  <a:solidFill>
                    <a:srgbClr val="888B8C"/>
                  </a:solidFill>
                  <a:uFillTx/>
                  <a:latin typeface="Open Sans"/>
                  <a:ea typeface="Open Sans"/>
                  <a:cs typeface="Open Sans"/>
                  <a:sym typeface="Open Sans"/>
                </a:defRPr>
              </a:lvl5pPr>
              <a:lvl6pPr marL="3407019" marR="0" indent="-232019" algn="l" defTabSz="825500" latinLnBrk="0">
                <a:lnSpc>
                  <a:spcPct val="130000"/>
                </a:lnSpc>
                <a:spcBef>
                  <a:spcPts val="5200"/>
                </a:spcBef>
                <a:spcAft>
                  <a:spcPts val="0"/>
                </a:spcAft>
                <a:buClrTx/>
                <a:buSzPct val="75000"/>
                <a:buFontTx/>
                <a:buChar char="•"/>
                <a:tabLst/>
                <a:defRPr sz="1900" b="0" i="0" u="none" strike="noStrike" cap="none" spc="0" baseline="0">
                  <a:ln>
                    <a:noFill/>
                  </a:ln>
                  <a:solidFill>
                    <a:srgbClr val="888B8C"/>
                  </a:solidFill>
                  <a:uFillTx/>
                  <a:latin typeface="Open Sans"/>
                  <a:ea typeface="Open Sans"/>
                  <a:cs typeface="Open Sans"/>
                  <a:sym typeface="Open Sans"/>
                </a:defRPr>
              </a:lvl6pPr>
              <a:lvl7pPr marL="4042019" marR="0" indent="-232019" algn="l" defTabSz="825500" latinLnBrk="0">
                <a:lnSpc>
                  <a:spcPct val="130000"/>
                </a:lnSpc>
                <a:spcBef>
                  <a:spcPts val="5200"/>
                </a:spcBef>
                <a:spcAft>
                  <a:spcPts val="0"/>
                </a:spcAft>
                <a:buClrTx/>
                <a:buSzPct val="75000"/>
                <a:buFontTx/>
                <a:buChar char="•"/>
                <a:tabLst/>
                <a:defRPr sz="1900" b="0" i="0" u="none" strike="noStrike" cap="none" spc="0" baseline="0">
                  <a:ln>
                    <a:noFill/>
                  </a:ln>
                  <a:solidFill>
                    <a:srgbClr val="888B8C"/>
                  </a:solidFill>
                  <a:uFillTx/>
                  <a:latin typeface="Open Sans"/>
                  <a:ea typeface="Open Sans"/>
                  <a:cs typeface="Open Sans"/>
                  <a:sym typeface="Open Sans"/>
                </a:defRPr>
              </a:lvl7pPr>
              <a:lvl8pPr marL="4677019" marR="0" indent="-232019" algn="l" defTabSz="825500" latinLnBrk="0">
                <a:lnSpc>
                  <a:spcPct val="130000"/>
                </a:lnSpc>
                <a:spcBef>
                  <a:spcPts val="5200"/>
                </a:spcBef>
                <a:spcAft>
                  <a:spcPts val="0"/>
                </a:spcAft>
                <a:buClrTx/>
                <a:buSzPct val="75000"/>
                <a:buFontTx/>
                <a:buChar char="•"/>
                <a:tabLst/>
                <a:defRPr sz="1900" b="0" i="0" u="none" strike="noStrike" cap="none" spc="0" baseline="0">
                  <a:ln>
                    <a:noFill/>
                  </a:ln>
                  <a:solidFill>
                    <a:srgbClr val="888B8C"/>
                  </a:solidFill>
                  <a:uFillTx/>
                  <a:latin typeface="Open Sans"/>
                  <a:ea typeface="Open Sans"/>
                  <a:cs typeface="Open Sans"/>
                  <a:sym typeface="Open Sans"/>
                </a:defRPr>
              </a:lvl8pPr>
              <a:lvl9pPr marL="5312019" marR="0" indent="-232019" algn="l" defTabSz="825500" latinLnBrk="0">
                <a:lnSpc>
                  <a:spcPct val="130000"/>
                </a:lnSpc>
                <a:spcBef>
                  <a:spcPts val="5200"/>
                </a:spcBef>
                <a:spcAft>
                  <a:spcPts val="0"/>
                </a:spcAft>
                <a:buClrTx/>
                <a:buSzPct val="75000"/>
                <a:buFontTx/>
                <a:buChar char="•"/>
                <a:tabLst/>
                <a:defRPr sz="1900" b="0" i="0" u="none" strike="noStrike" cap="none" spc="0" baseline="0">
                  <a:ln>
                    <a:noFill/>
                  </a:ln>
                  <a:solidFill>
                    <a:srgbClr val="888B8C"/>
                  </a:solidFill>
                  <a:uFillTx/>
                  <a:latin typeface="Open Sans"/>
                  <a:ea typeface="Open Sans"/>
                  <a:cs typeface="Open Sans"/>
                  <a:sym typeface="Open Sans"/>
                </a:defRPr>
              </a:lvl9pPr>
            </a:lstStyle>
            <a:p>
              <a:pPr marL="0" indent="0">
                <a:spcBef>
                  <a:spcPts val="0"/>
                </a:spcBef>
                <a:buSzTx/>
                <a:buNone/>
              </a:pPr>
              <a:r>
                <a:rPr lang="de-DE" sz="1800" b="1" dirty="0">
                  <a:solidFill>
                    <a:srgbClr val="53C2E5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Überwachen</a:t>
              </a:r>
              <a:r>
                <a:rPr lang="de-DE" sz="1800" b="1" dirty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de-DE" sz="1800" dirty="0">
                  <a:solidFill>
                    <a:srgbClr val="323232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Sie die Anwendererfahrung durch synthetische Transkationen</a:t>
              </a:r>
            </a:p>
          </p:txBody>
        </p:sp>
        <p:sp>
          <p:nvSpPr>
            <p:cNvPr id="35" name="Shape">
              <a:extLst>
                <a:ext uri="{FF2B5EF4-FFF2-40B4-BE49-F238E27FC236}">
                  <a16:creationId xmlns:a16="http://schemas.microsoft.com/office/drawing/2014/main" id="{2C8BE494-268D-4A94-A535-C5FE496EFBC2}"/>
                </a:ext>
              </a:extLst>
            </p:cNvPr>
            <p:cNvSpPr/>
            <p:nvPr/>
          </p:nvSpPr>
          <p:spPr>
            <a:xfrm>
              <a:off x="2479156" y="2803114"/>
              <a:ext cx="541336" cy="49536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511" y="0"/>
                  </a:moveTo>
                  <a:cubicBezTo>
                    <a:pt x="3034" y="0"/>
                    <a:pt x="143" y="2898"/>
                    <a:pt x="143" y="6368"/>
                  </a:cubicBezTo>
                  <a:cubicBezTo>
                    <a:pt x="143" y="7917"/>
                    <a:pt x="685" y="9357"/>
                    <a:pt x="1616" y="10503"/>
                  </a:cubicBezTo>
                  <a:lnTo>
                    <a:pt x="2638" y="9648"/>
                  </a:lnTo>
                  <a:cubicBezTo>
                    <a:pt x="1831" y="8718"/>
                    <a:pt x="1426" y="7577"/>
                    <a:pt x="1426" y="6368"/>
                  </a:cubicBezTo>
                  <a:cubicBezTo>
                    <a:pt x="1426" y="3611"/>
                    <a:pt x="3677" y="1331"/>
                    <a:pt x="6440" y="1331"/>
                  </a:cubicBezTo>
                  <a:cubicBezTo>
                    <a:pt x="7930" y="1331"/>
                    <a:pt x="9334" y="1919"/>
                    <a:pt x="10265" y="3065"/>
                  </a:cubicBezTo>
                  <a:lnTo>
                    <a:pt x="10788" y="3683"/>
                  </a:lnTo>
                  <a:lnTo>
                    <a:pt x="11311" y="3065"/>
                  </a:lnTo>
                  <a:cubicBezTo>
                    <a:pt x="12242" y="1981"/>
                    <a:pt x="13678" y="1331"/>
                    <a:pt x="15137" y="1331"/>
                  </a:cubicBezTo>
                  <a:cubicBezTo>
                    <a:pt x="17899" y="1331"/>
                    <a:pt x="20174" y="3611"/>
                    <a:pt x="20174" y="6368"/>
                  </a:cubicBezTo>
                  <a:cubicBezTo>
                    <a:pt x="20174" y="7577"/>
                    <a:pt x="19707" y="8780"/>
                    <a:pt x="18962" y="9648"/>
                  </a:cubicBezTo>
                  <a:lnTo>
                    <a:pt x="19984" y="10503"/>
                  </a:lnTo>
                  <a:cubicBezTo>
                    <a:pt x="20915" y="9294"/>
                    <a:pt x="21476" y="7856"/>
                    <a:pt x="21600" y="6368"/>
                  </a:cubicBezTo>
                  <a:cubicBezTo>
                    <a:pt x="21600" y="2898"/>
                    <a:pt x="18715" y="0"/>
                    <a:pt x="15208" y="0"/>
                  </a:cubicBezTo>
                  <a:cubicBezTo>
                    <a:pt x="13594" y="0"/>
                    <a:pt x="12008" y="603"/>
                    <a:pt x="10859" y="1687"/>
                  </a:cubicBezTo>
                  <a:cubicBezTo>
                    <a:pt x="9742" y="603"/>
                    <a:pt x="8125" y="0"/>
                    <a:pt x="6511" y="0"/>
                  </a:cubicBezTo>
                  <a:close/>
                  <a:moveTo>
                    <a:pt x="12713" y="4800"/>
                  </a:moveTo>
                  <a:lnTo>
                    <a:pt x="10028" y="12404"/>
                  </a:lnTo>
                  <a:lnTo>
                    <a:pt x="7937" y="7889"/>
                  </a:lnTo>
                  <a:lnTo>
                    <a:pt x="6321" y="11525"/>
                  </a:lnTo>
                  <a:lnTo>
                    <a:pt x="0" y="11525"/>
                  </a:lnTo>
                  <a:lnTo>
                    <a:pt x="0" y="12879"/>
                  </a:lnTo>
                  <a:lnTo>
                    <a:pt x="7129" y="12879"/>
                  </a:lnTo>
                  <a:lnTo>
                    <a:pt x="7937" y="11121"/>
                  </a:lnTo>
                  <a:lnTo>
                    <a:pt x="10218" y="15992"/>
                  </a:lnTo>
                  <a:lnTo>
                    <a:pt x="12713" y="8792"/>
                  </a:lnTo>
                  <a:lnTo>
                    <a:pt x="14257" y="12879"/>
                  </a:lnTo>
                  <a:lnTo>
                    <a:pt x="21457" y="12879"/>
                  </a:lnTo>
                  <a:lnTo>
                    <a:pt x="21457" y="11525"/>
                  </a:lnTo>
                  <a:lnTo>
                    <a:pt x="15208" y="11525"/>
                  </a:lnTo>
                  <a:lnTo>
                    <a:pt x="12713" y="4800"/>
                  </a:lnTo>
                  <a:close/>
                  <a:moveTo>
                    <a:pt x="5180" y="14091"/>
                  </a:moveTo>
                  <a:lnTo>
                    <a:pt x="4111" y="14970"/>
                  </a:lnTo>
                  <a:lnTo>
                    <a:pt x="9671" y="21600"/>
                  </a:lnTo>
                  <a:lnTo>
                    <a:pt x="11667" y="21600"/>
                  </a:lnTo>
                  <a:lnTo>
                    <a:pt x="17228" y="14970"/>
                  </a:lnTo>
                  <a:lnTo>
                    <a:pt x="16158" y="14091"/>
                  </a:lnTo>
                  <a:lnTo>
                    <a:pt x="10978" y="20222"/>
                  </a:lnTo>
                  <a:lnTo>
                    <a:pt x="10360" y="20222"/>
                  </a:lnTo>
                  <a:lnTo>
                    <a:pt x="5180" y="14091"/>
                  </a:lnTo>
                  <a:close/>
                </a:path>
              </a:pathLst>
            </a:custGeom>
            <a:solidFill>
              <a:schemeClr val="bg1"/>
            </a:solidFill>
            <a:ln w="12700">
              <a:noFill/>
              <a:miter lim="400000"/>
            </a:ln>
          </p:spPr>
          <p:txBody>
            <a:bodyPr lIns="22860" rIns="22860" anchor="ctr"/>
            <a:lstStyle/>
            <a:p>
              <a:pPr defTabSz="228600">
                <a:lnSpc>
                  <a:spcPct val="93000"/>
                </a:lnSpc>
                <a:defRPr sz="1800">
                  <a:latin typeface="Open Sans"/>
                  <a:ea typeface="Open Sans"/>
                  <a:cs typeface="Open Sans"/>
                  <a:sym typeface="Open Sans"/>
                </a:defRPr>
              </a:pPr>
              <a:endParaRPr sz="900"/>
            </a:p>
          </p:txBody>
        </p:sp>
      </p:grp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B5E646F6-E194-412B-B160-7A87ABB1A3C2}"/>
              </a:ext>
            </a:extLst>
          </p:cNvPr>
          <p:cNvGrpSpPr/>
          <p:nvPr/>
        </p:nvGrpSpPr>
        <p:grpSpPr>
          <a:xfrm>
            <a:off x="2305654" y="5105327"/>
            <a:ext cx="7800280" cy="914400"/>
            <a:chOff x="2305654" y="5105327"/>
            <a:chExt cx="7800280" cy="914400"/>
          </a:xfrm>
        </p:grpSpPr>
        <p:sp>
          <p:nvSpPr>
            <p:cNvPr id="29" name="Oval 22">
              <a:extLst>
                <a:ext uri="{FF2B5EF4-FFF2-40B4-BE49-F238E27FC236}">
                  <a16:creationId xmlns:a16="http://schemas.microsoft.com/office/drawing/2014/main" id="{D7212CC7-BDB3-4C4C-9EFD-780E75DDAB88}"/>
                </a:ext>
              </a:extLst>
            </p:cNvPr>
            <p:cNvSpPr/>
            <p:nvPr/>
          </p:nvSpPr>
          <p:spPr>
            <a:xfrm>
              <a:off x="2305654" y="5105327"/>
              <a:ext cx="914400" cy="914400"/>
            </a:xfrm>
            <a:prstGeom prst="ellipse">
              <a:avLst/>
            </a:prstGeom>
            <a:solidFill>
              <a:srgbClr val="533F6F"/>
            </a:solidFill>
            <a:ln w="12700" cap="flat">
              <a:noFill/>
              <a:miter lim="400000"/>
            </a:ln>
            <a:effectLst>
              <a:outerShdw blurRad="38100" dist="25400" dir="5400000" rotWithShape="0">
                <a:srgbClr val="000000">
                  <a:alpha val="50000"/>
                </a:srgb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5400" tIns="25400" rIns="25400" bIns="25400" numCol="1" spcCol="38100" rtlCol="0" anchor="ctr">
              <a:spAutoFit/>
            </a:bodyPr>
            <a:lstStyle/>
            <a:p>
              <a:pPr algn="ctr" defTabSz="412750" hangingPunct="0"/>
              <a:endParaRPr lang="en-US" sz="160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endParaRPr>
            </a:p>
          </p:txBody>
        </p:sp>
        <p:sp>
          <p:nvSpPr>
            <p:cNvPr id="30" name="There are many variations of passages…">
              <a:extLst>
                <a:ext uri="{FF2B5EF4-FFF2-40B4-BE49-F238E27FC236}">
                  <a16:creationId xmlns:a16="http://schemas.microsoft.com/office/drawing/2014/main" id="{723CD790-6BE8-4950-9460-C1E47A4343CB}"/>
                </a:ext>
              </a:extLst>
            </p:cNvPr>
            <p:cNvSpPr txBox="1">
              <a:spLocks/>
            </p:cNvSpPr>
            <p:nvPr/>
          </p:nvSpPr>
          <p:spPr>
            <a:xfrm>
              <a:off x="3617779" y="5233947"/>
              <a:ext cx="6488155" cy="657158"/>
            </a:xfrm>
            <a:prstGeom prst="rect">
              <a:avLst/>
            </a:prstGeom>
          </p:spPr>
          <p:txBody>
            <a:bodyPr/>
            <a:lstStyle>
              <a:lvl1pPr marL="457200" indent="-457200" algn="l" defTabSz="1828800" rtl="0" eaLnBrk="1" latinLnBrk="0" hangingPunct="1">
                <a:lnSpc>
                  <a:spcPct val="90000"/>
                </a:lnSpc>
                <a:spcBef>
                  <a:spcPts val="2000"/>
                </a:spcBef>
                <a:buFont typeface="Arial" panose="020B0604020202020204" pitchFamily="34" charset="0"/>
                <a:buChar char="•"/>
                <a:defRPr sz="5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371600" indent="-457200" algn="l" defTabSz="18288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4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286000" indent="-457200" algn="l" defTabSz="18288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4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3200400" indent="-457200" algn="l" defTabSz="18288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3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4114800" indent="-457200" algn="l" defTabSz="18288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3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5029200" indent="-457200" algn="l" defTabSz="18288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3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5943600" indent="-457200" algn="l" defTabSz="18288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3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6858000" indent="-457200" algn="l" defTabSz="18288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3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7772400" indent="-457200" algn="l" defTabSz="18288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3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spcBef>
                  <a:spcPts val="0"/>
                </a:spcBef>
                <a:buNone/>
              </a:pPr>
              <a:r>
                <a:rPr lang="de-DE" sz="1800" b="1" dirty="0">
                  <a:solidFill>
                    <a:srgbClr val="533F6F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Erstellen </a:t>
              </a:r>
              <a:r>
                <a:rPr lang="de-DE" sz="1800" dirty="0">
                  <a:solidFill>
                    <a:srgbClr val="323232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Sie umfassende </a:t>
              </a:r>
              <a:r>
                <a:rPr lang="de-DE" sz="1800" b="1" dirty="0">
                  <a:solidFill>
                    <a:srgbClr val="533F6F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Berichte</a:t>
              </a:r>
              <a:r>
                <a:rPr lang="de-DE" sz="1800" dirty="0">
                  <a:solidFill>
                    <a:srgbClr val="323232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,</a:t>
              </a:r>
              <a:r>
                <a:rPr lang="de-DE" sz="1800" b="1" dirty="0">
                  <a:solidFill>
                    <a:srgbClr val="323232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de-DE" sz="1800" dirty="0">
                  <a:solidFill>
                    <a:srgbClr val="323232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um Leistungs- und Funktionsprobleme zu finden, die sich langsam entwickeln</a:t>
              </a:r>
            </a:p>
          </p:txBody>
        </p:sp>
        <p:sp>
          <p:nvSpPr>
            <p:cNvPr id="36" name="Shape">
              <a:extLst>
                <a:ext uri="{FF2B5EF4-FFF2-40B4-BE49-F238E27FC236}">
                  <a16:creationId xmlns:a16="http://schemas.microsoft.com/office/drawing/2014/main" id="{D2E31C3B-D6D5-44C5-9BB3-C74CE551C72B}"/>
                </a:ext>
              </a:extLst>
            </p:cNvPr>
            <p:cNvSpPr/>
            <p:nvPr/>
          </p:nvSpPr>
          <p:spPr>
            <a:xfrm>
              <a:off x="2510458" y="5314011"/>
              <a:ext cx="497031" cy="49703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0" y="21600"/>
                  </a:lnTo>
                  <a:lnTo>
                    <a:pt x="694" y="21600"/>
                  </a:lnTo>
                  <a:lnTo>
                    <a:pt x="10812" y="21600"/>
                  </a:lnTo>
                  <a:lnTo>
                    <a:pt x="21600" y="21600"/>
                  </a:lnTo>
                  <a:lnTo>
                    <a:pt x="21600" y="20260"/>
                  </a:lnTo>
                  <a:lnTo>
                    <a:pt x="1363" y="20260"/>
                  </a:lnTo>
                  <a:lnTo>
                    <a:pt x="1363" y="0"/>
                  </a:lnTo>
                  <a:lnTo>
                    <a:pt x="0" y="0"/>
                  </a:lnTo>
                  <a:close/>
                  <a:moveTo>
                    <a:pt x="1387" y="2631"/>
                  </a:moveTo>
                  <a:lnTo>
                    <a:pt x="1387" y="3971"/>
                  </a:lnTo>
                  <a:lnTo>
                    <a:pt x="2081" y="3971"/>
                  </a:lnTo>
                  <a:lnTo>
                    <a:pt x="2727" y="3971"/>
                  </a:lnTo>
                  <a:lnTo>
                    <a:pt x="2727" y="2631"/>
                  </a:lnTo>
                  <a:lnTo>
                    <a:pt x="1387" y="2631"/>
                  </a:lnTo>
                  <a:close/>
                  <a:moveTo>
                    <a:pt x="10070" y="2631"/>
                  </a:moveTo>
                  <a:lnTo>
                    <a:pt x="10070" y="17462"/>
                  </a:lnTo>
                  <a:lnTo>
                    <a:pt x="14161" y="17462"/>
                  </a:lnTo>
                  <a:lnTo>
                    <a:pt x="14161" y="2631"/>
                  </a:lnTo>
                  <a:lnTo>
                    <a:pt x="10070" y="2631"/>
                  </a:lnTo>
                  <a:close/>
                  <a:moveTo>
                    <a:pt x="11458" y="3995"/>
                  </a:moveTo>
                  <a:lnTo>
                    <a:pt x="12797" y="3995"/>
                  </a:lnTo>
                  <a:lnTo>
                    <a:pt x="12797" y="16122"/>
                  </a:lnTo>
                  <a:lnTo>
                    <a:pt x="11458" y="16122"/>
                  </a:lnTo>
                  <a:lnTo>
                    <a:pt x="11458" y="3995"/>
                  </a:lnTo>
                  <a:close/>
                  <a:moveTo>
                    <a:pt x="1387" y="5382"/>
                  </a:moveTo>
                  <a:lnTo>
                    <a:pt x="1387" y="6722"/>
                  </a:lnTo>
                  <a:lnTo>
                    <a:pt x="2081" y="6722"/>
                  </a:lnTo>
                  <a:lnTo>
                    <a:pt x="2727" y="6722"/>
                  </a:lnTo>
                  <a:lnTo>
                    <a:pt x="2727" y="5382"/>
                  </a:lnTo>
                  <a:lnTo>
                    <a:pt x="1387" y="5382"/>
                  </a:lnTo>
                  <a:close/>
                  <a:moveTo>
                    <a:pt x="15572" y="5382"/>
                  </a:moveTo>
                  <a:lnTo>
                    <a:pt x="15572" y="17462"/>
                  </a:lnTo>
                  <a:lnTo>
                    <a:pt x="19662" y="17462"/>
                  </a:lnTo>
                  <a:lnTo>
                    <a:pt x="19662" y="5382"/>
                  </a:lnTo>
                  <a:lnTo>
                    <a:pt x="15572" y="5382"/>
                  </a:lnTo>
                  <a:close/>
                  <a:moveTo>
                    <a:pt x="16959" y="6722"/>
                  </a:moveTo>
                  <a:lnTo>
                    <a:pt x="18323" y="6722"/>
                  </a:lnTo>
                  <a:lnTo>
                    <a:pt x="18323" y="16122"/>
                  </a:lnTo>
                  <a:lnTo>
                    <a:pt x="16959" y="16122"/>
                  </a:lnTo>
                  <a:lnTo>
                    <a:pt x="16959" y="6722"/>
                  </a:lnTo>
                  <a:close/>
                  <a:moveTo>
                    <a:pt x="1387" y="7989"/>
                  </a:moveTo>
                  <a:lnTo>
                    <a:pt x="1387" y="9353"/>
                  </a:lnTo>
                  <a:lnTo>
                    <a:pt x="2081" y="9353"/>
                  </a:lnTo>
                  <a:lnTo>
                    <a:pt x="2727" y="9353"/>
                  </a:lnTo>
                  <a:lnTo>
                    <a:pt x="2727" y="7989"/>
                  </a:lnTo>
                  <a:lnTo>
                    <a:pt x="1387" y="7989"/>
                  </a:lnTo>
                  <a:close/>
                  <a:moveTo>
                    <a:pt x="4688" y="7989"/>
                  </a:moveTo>
                  <a:lnTo>
                    <a:pt x="4688" y="17462"/>
                  </a:lnTo>
                  <a:lnTo>
                    <a:pt x="8779" y="17462"/>
                  </a:lnTo>
                  <a:lnTo>
                    <a:pt x="8779" y="7989"/>
                  </a:lnTo>
                  <a:lnTo>
                    <a:pt x="4688" y="7989"/>
                  </a:lnTo>
                  <a:close/>
                  <a:moveTo>
                    <a:pt x="6076" y="9377"/>
                  </a:moveTo>
                  <a:lnTo>
                    <a:pt x="7439" y="9377"/>
                  </a:lnTo>
                  <a:lnTo>
                    <a:pt x="7439" y="16122"/>
                  </a:lnTo>
                  <a:lnTo>
                    <a:pt x="6076" y="16122"/>
                  </a:lnTo>
                  <a:lnTo>
                    <a:pt x="6076" y="9377"/>
                  </a:lnTo>
                  <a:close/>
                  <a:moveTo>
                    <a:pt x="1387" y="10764"/>
                  </a:moveTo>
                  <a:lnTo>
                    <a:pt x="1387" y="12104"/>
                  </a:lnTo>
                  <a:lnTo>
                    <a:pt x="2081" y="12104"/>
                  </a:lnTo>
                  <a:lnTo>
                    <a:pt x="2727" y="12104"/>
                  </a:lnTo>
                  <a:lnTo>
                    <a:pt x="2727" y="10764"/>
                  </a:lnTo>
                  <a:lnTo>
                    <a:pt x="1387" y="10764"/>
                  </a:lnTo>
                  <a:close/>
                  <a:moveTo>
                    <a:pt x="1387" y="13515"/>
                  </a:moveTo>
                  <a:lnTo>
                    <a:pt x="1387" y="14854"/>
                  </a:lnTo>
                  <a:lnTo>
                    <a:pt x="2081" y="14854"/>
                  </a:lnTo>
                  <a:lnTo>
                    <a:pt x="2727" y="14854"/>
                  </a:lnTo>
                  <a:lnTo>
                    <a:pt x="2727" y="13515"/>
                  </a:lnTo>
                  <a:lnTo>
                    <a:pt x="1387" y="13515"/>
                  </a:lnTo>
                  <a:close/>
                  <a:moveTo>
                    <a:pt x="1387" y="16122"/>
                  </a:moveTo>
                  <a:lnTo>
                    <a:pt x="1387" y="17462"/>
                  </a:lnTo>
                  <a:lnTo>
                    <a:pt x="2081" y="17462"/>
                  </a:lnTo>
                  <a:lnTo>
                    <a:pt x="2727" y="17462"/>
                  </a:lnTo>
                  <a:lnTo>
                    <a:pt x="2727" y="16122"/>
                  </a:lnTo>
                  <a:lnTo>
                    <a:pt x="1387" y="16122"/>
                  </a:lnTo>
                  <a:close/>
                  <a:moveTo>
                    <a:pt x="4688" y="18873"/>
                  </a:moveTo>
                  <a:lnTo>
                    <a:pt x="4688" y="20237"/>
                  </a:lnTo>
                  <a:lnTo>
                    <a:pt x="5358" y="20237"/>
                  </a:lnTo>
                  <a:lnTo>
                    <a:pt x="6028" y="20237"/>
                  </a:lnTo>
                  <a:lnTo>
                    <a:pt x="6028" y="18873"/>
                  </a:lnTo>
                  <a:lnTo>
                    <a:pt x="4688" y="18873"/>
                  </a:lnTo>
                  <a:close/>
                  <a:moveTo>
                    <a:pt x="7439" y="18873"/>
                  </a:moveTo>
                  <a:lnTo>
                    <a:pt x="7439" y="20237"/>
                  </a:lnTo>
                  <a:lnTo>
                    <a:pt x="8109" y="20237"/>
                  </a:lnTo>
                  <a:lnTo>
                    <a:pt x="8803" y="20237"/>
                  </a:lnTo>
                  <a:lnTo>
                    <a:pt x="8803" y="18873"/>
                  </a:lnTo>
                  <a:lnTo>
                    <a:pt x="7439" y="18873"/>
                  </a:lnTo>
                  <a:close/>
                  <a:moveTo>
                    <a:pt x="10070" y="18873"/>
                  </a:moveTo>
                  <a:lnTo>
                    <a:pt x="10070" y="20237"/>
                  </a:lnTo>
                  <a:lnTo>
                    <a:pt x="10740" y="20237"/>
                  </a:lnTo>
                  <a:lnTo>
                    <a:pt x="11410" y="20237"/>
                  </a:lnTo>
                  <a:lnTo>
                    <a:pt x="11410" y="18873"/>
                  </a:lnTo>
                  <a:lnTo>
                    <a:pt x="10070" y="18873"/>
                  </a:lnTo>
                  <a:close/>
                  <a:moveTo>
                    <a:pt x="12821" y="18873"/>
                  </a:moveTo>
                  <a:lnTo>
                    <a:pt x="12821" y="20237"/>
                  </a:lnTo>
                  <a:lnTo>
                    <a:pt x="13467" y="20237"/>
                  </a:lnTo>
                  <a:lnTo>
                    <a:pt x="14161" y="20237"/>
                  </a:lnTo>
                  <a:lnTo>
                    <a:pt x="14161" y="18873"/>
                  </a:lnTo>
                  <a:lnTo>
                    <a:pt x="12821" y="18873"/>
                  </a:lnTo>
                  <a:close/>
                  <a:moveTo>
                    <a:pt x="15572" y="18873"/>
                  </a:moveTo>
                  <a:lnTo>
                    <a:pt x="15572" y="20237"/>
                  </a:lnTo>
                  <a:lnTo>
                    <a:pt x="16242" y="20237"/>
                  </a:lnTo>
                  <a:lnTo>
                    <a:pt x="16912" y="20237"/>
                  </a:lnTo>
                  <a:lnTo>
                    <a:pt x="16912" y="18873"/>
                  </a:lnTo>
                  <a:lnTo>
                    <a:pt x="15572" y="18873"/>
                  </a:lnTo>
                  <a:close/>
                  <a:moveTo>
                    <a:pt x="18179" y="18873"/>
                  </a:moveTo>
                  <a:lnTo>
                    <a:pt x="18179" y="20237"/>
                  </a:lnTo>
                  <a:lnTo>
                    <a:pt x="18849" y="20237"/>
                  </a:lnTo>
                  <a:lnTo>
                    <a:pt x="19543" y="20237"/>
                  </a:lnTo>
                  <a:lnTo>
                    <a:pt x="19543" y="18873"/>
                  </a:lnTo>
                  <a:lnTo>
                    <a:pt x="18179" y="18873"/>
                  </a:lnTo>
                  <a:close/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22860" rIns="22860" anchor="ctr"/>
            <a:lstStyle>
              <a:defPPr marL="0" marR="0" indent="0" algn="l" defTabSz="9144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</a:defRPr>
              </a:defPPr>
              <a:lvl1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Raleway Light"/>
                </a:defRPr>
              </a:lvl1pPr>
              <a:lvl2pPr marL="0" marR="0" indent="2286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Raleway Light"/>
                </a:defRPr>
              </a:lvl2pPr>
              <a:lvl3pPr marL="0" marR="0" indent="4572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Raleway Light"/>
                </a:defRPr>
              </a:lvl3pPr>
              <a:lvl4pPr marL="0" marR="0" indent="6858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Raleway Light"/>
                </a:defRPr>
              </a:lvl4pPr>
              <a:lvl5pPr marL="0" marR="0" indent="9144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Raleway Light"/>
                </a:defRPr>
              </a:lvl5pPr>
              <a:lvl6pPr marL="0" marR="0" indent="11430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Raleway Light"/>
                </a:defRPr>
              </a:lvl6pPr>
              <a:lvl7pPr marL="0" marR="0" indent="13716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Raleway Light"/>
                </a:defRPr>
              </a:lvl7pPr>
              <a:lvl8pPr marL="0" marR="0" indent="16002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Raleway Light"/>
                </a:defRPr>
              </a:lvl8pPr>
              <a:lvl9pPr marL="0" marR="0" indent="18288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Raleway Light"/>
                </a:defRPr>
              </a:lvl9pPr>
            </a:lstStyle>
            <a:p>
              <a:pPr algn="l" defTabSz="228600">
                <a:lnSpc>
                  <a:spcPct val="93000"/>
                </a:lnSpc>
                <a:defRPr sz="1800">
                  <a:latin typeface="Raleway"/>
                  <a:ea typeface="Raleway"/>
                  <a:cs typeface="Raleway"/>
                  <a:sym typeface="Raleway"/>
                </a:defRPr>
              </a:pPr>
              <a:endParaRPr sz="900"/>
            </a:p>
          </p:txBody>
        </p:sp>
      </p:grp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8B8A7CA8-6733-4064-99D4-F16E673E9FF1}"/>
              </a:ext>
            </a:extLst>
          </p:cNvPr>
          <p:cNvGrpSpPr/>
          <p:nvPr/>
        </p:nvGrpSpPr>
        <p:grpSpPr>
          <a:xfrm>
            <a:off x="2285403" y="3823655"/>
            <a:ext cx="7805030" cy="914400"/>
            <a:chOff x="2285403" y="3823655"/>
            <a:chExt cx="7805030" cy="914400"/>
          </a:xfrm>
        </p:grpSpPr>
        <p:sp>
          <p:nvSpPr>
            <p:cNvPr id="27" name="Oval 20">
              <a:extLst>
                <a:ext uri="{FF2B5EF4-FFF2-40B4-BE49-F238E27FC236}">
                  <a16:creationId xmlns:a16="http://schemas.microsoft.com/office/drawing/2014/main" id="{B19D2E1F-3922-4479-BF35-99FC649B2249}"/>
                </a:ext>
              </a:extLst>
            </p:cNvPr>
            <p:cNvSpPr/>
            <p:nvPr/>
          </p:nvSpPr>
          <p:spPr>
            <a:xfrm>
              <a:off x="2285403" y="3823655"/>
              <a:ext cx="914400" cy="914400"/>
            </a:xfrm>
            <a:prstGeom prst="ellipse">
              <a:avLst/>
            </a:prstGeom>
            <a:solidFill>
              <a:srgbClr val="35E7C5"/>
            </a:solidFill>
            <a:ln w="12700" cap="flat">
              <a:noFill/>
              <a:miter lim="400000"/>
            </a:ln>
            <a:effectLst>
              <a:outerShdw blurRad="38100" dist="25400" dir="5400000" rotWithShape="0">
                <a:srgbClr val="000000">
                  <a:alpha val="50000"/>
                </a:srgb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5400" tIns="25400" rIns="25400" bIns="25400" numCol="1" spcCol="38100" rtlCol="0" anchor="ctr">
              <a:spAutoFit/>
            </a:bodyPr>
            <a:lstStyle/>
            <a:p>
              <a:pPr algn="ctr" defTabSz="412750" hangingPunct="0"/>
              <a:endParaRPr lang="en-US" sz="1600" dirty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endParaRPr>
            </a:p>
          </p:txBody>
        </p:sp>
        <p:sp>
          <p:nvSpPr>
            <p:cNvPr id="33" name="There are many variations of passages…">
              <a:extLst>
                <a:ext uri="{FF2B5EF4-FFF2-40B4-BE49-F238E27FC236}">
                  <a16:creationId xmlns:a16="http://schemas.microsoft.com/office/drawing/2014/main" id="{165F03EC-A9A2-40A8-85E4-883F47AB2E7D}"/>
                </a:ext>
              </a:extLst>
            </p:cNvPr>
            <p:cNvSpPr txBox="1">
              <a:spLocks/>
            </p:cNvSpPr>
            <p:nvPr/>
          </p:nvSpPr>
          <p:spPr>
            <a:xfrm>
              <a:off x="3617779" y="3913991"/>
              <a:ext cx="6472654" cy="733727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25400" tIns="25400" rIns="25400" bIns="25400" anchor="ctr">
              <a:spAutoFit/>
            </a:bodyPr>
            <a:lstStyle>
              <a:lvl1pPr marL="232019" marR="0" indent="-232019" algn="l" defTabSz="825500" latinLnBrk="0">
                <a:lnSpc>
                  <a:spcPct val="130000"/>
                </a:lnSpc>
                <a:spcBef>
                  <a:spcPts val="5200"/>
                </a:spcBef>
                <a:spcAft>
                  <a:spcPts val="0"/>
                </a:spcAft>
                <a:buClrTx/>
                <a:buSzPct val="75000"/>
                <a:buFontTx/>
                <a:buChar char="•"/>
                <a:tabLst/>
                <a:defRPr sz="1900" b="0" i="0" u="none" strike="noStrike" cap="none" spc="0" baseline="0">
                  <a:ln>
                    <a:noFill/>
                  </a:ln>
                  <a:solidFill>
                    <a:srgbClr val="888B8C"/>
                  </a:solidFill>
                  <a:uFillTx/>
                  <a:latin typeface="Open Sans"/>
                  <a:ea typeface="Open Sans"/>
                  <a:cs typeface="Open Sans"/>
                  <a:sym typeface="Open Sans"/>
                </a:defRPr>
              </a:lvl1pPr>
              <a:lvl2pPr marL="867019" marR="0" indent="-232019" algn="l" defTabSz="825500" latinLnBrk="0">
                <a:lnSpc>
                  <a:spcPct val="130000"/>
                </a:lnSpc>
                <a:spcBef>
                  <a:spcPts val="5200"/>
                </a:spcBef>
                <a:spcAft>
                  <a:spcPts val="0"/>
                </a:spcAft>
                <a:buClrTx/>
                <a:buSzPct val="75000"/>
                <a:buFontTx/>
                <a:buChar char="•"/>
                <a:tabLst/>
                <a:defRPr sz="1900" b="0" i="0" u="none" strike="noStrike" cap="none" spc="0" baseline="0">
                  <a:ln>
                    <a:noFill/>
                  </a:ln>
                  <a:solidFill>
                    <a:srgbClr val="888B8C"/>
                  </a:solidFill>
                  <a:uFillTx/>
                  <a:latin typeface="Open Sans"/>
                  <a:ea typeface="Open Sans"/>
                  <a:cs typeface="Open Sans"/>
                  <a:sym typeface="Open Sans"/>
                </a:defRPr>
              </a:lvl2pPr>
              <a:lvl3pPr marL="1502019" marR="0" indent="-232019" algn="l" defTabSz="825500" latinLnBrk="0">
                <a:lnSpc>
                  <a:spcPct val="130000"/>
                </a:lnSpc>
                <a:spcBef>
                  <a:spcPts val="5200"/>
                </a:spcBef>
                <a:spcAft>
                  <a:spcPts val="0"/>
                </a:spcAft>
                <a:buClrTx/>
                <a:buSzPct val="75000"/>
                <a:buFontTx/>
                <a:buChar char="•"/>
                <a:tabLst/>
                <a:defRPr sz="1900" b="0" i="0" u="none" strike="noStrike" cap="none" spc="0" baseline="0">
                  <a:ln>
                    <a:noFill/>
                  </a:ln>
                  <a:solidFill>
                    <a:srgbClr val="888B8C"/>
                  </a:solidFill>
                  <a:uFillTx/>
                  <a:latin typeface="Open Sans"/>
                  <a:ea typeface="Open Sans"/>
                  <a:cs typeface="Open Sans"/>
                  <a:sym typeface="Open Sans"/>
                </a:defRPr>
              </a:lvl3pPr>
              <a:lvl4pPr marL="2137019" marR="0" indent="-232019" algn="l" defTabSz="825500" latinLnBrk="0">
                <a:lnSpc>
                  <a:spcPct val="130000"/>
                </a:lnSpc>
                <a:spcBef>
                  <a:spcPts val="5200"/>
                </a:spcBef>
                <a:spcAft>
                  <a:spcPts val="0"/>
                </a:spcAft>
                <a:buClrTx/>
                <a:buSzPct val="75000"/>
                <a:buFontTx/>
                <a:buChar char="•"/>
                <a:tabLst/>
                <a:defRPr sz="1900" b="0" i="0" u="none" strike="noStrike" cap="none" spc="0" baseline="0">
                  <a:ln>
                    <a:noFill/>
                  </a:ln>
                  <a:solidFill>
                    <a:srgbClr val="888B8C"/>
                  </a:solidFill>
                  <a:uFillTx/>
                  <a:latin typeface="Open Sans"/>
                  <a:ea typeface="Open Sans"/>
                  <a:cs typeface="Open Sans"/>
                  <a:sym typeface="Open Sans"/>
                </a:defRPr>
              </a:lvl4pPr>
              <a:lvl5pPr marL="2772019" marR="0" indent="-232019" algn="l" defTabSz="825500" latinLnBrk="0">
                <a:lnSpc>
                  <a:spcPct val="130000"/>
                </a:lnSpc>
                <a:spcBef>
                  <a:spcPts val="5200"/>
                </a:spcBef>
                <a:spcAft>
                  <a:spcPts val="0"/>
                </a:spcAft>
                <a:buClrTx/>
                <a:buSzPct val="75000"/>
                <a:buFontTx/>
                <a:buChar char="•"/>
                <a:tabLst/>
                <a:defRPr sz="1900" b="0" i="0" u="none" strike="noStrike" cap="none" spc="0" baseline="0">
                  <a:ln>
                    <a:noFill/>
                  </a:ln>
                  <a:solidFill>
                    <a:srgbClr val="888B8C"/>
                  </a:solidFill>
                  <a:uFillTx/>
                  <a:latin typeface="Open Sans"/>
                  <a:ea typeface="Open Sans"/>
                  <a:cs typeface="Open Sans"/>
                  <a:sym typeface="Open Sans"/>
                </a:defRPr>
              </a:lvl5pPr>
              <a:lvl6pPr marL="3407019" marR="0" indent="-232019" algn="l" defTabSz="825500" latinLnBrk="0">
                <a:lnSpc>
                  <a:spcPct val="130000"/>
                </a:lnSpc>
                <a:spcBef>
                  <a:spcPts val="5200"/>
                </a:spcBef>
                <a:spcAft>
                  <a:spcPts val="0"/>
                </a:spcAft>
                <a:buClrTx/>
                <a:buSzPct val="75000"/>
                <a:buFontTx/>
                <a:buChar char="•"/>
                <a:tabLst/>
                <a:defRPr sz="1900" b="0" i="0" u="none" strike="noStrike" cap="none" spc="0" baseline="0">
                  <a:ln>
                    <a:noFill/>
                  </a:ln>
                  <a:solidFill>
                    <a:srgbClr val="888B8C"/>
                  </a:solidFill>
                  <a:uFillTx/>
                  <a:latin typeface="Open Sans"/>
                  <a:ea typeface="Open Sans"/>
                  <a:cs typeface="Open Sans"/>
                  <a:sym typeface="Open Sans"/>
                </a:defRPr>
              </a:lvl6pPr>
              <a:lvl7pPr marL="4042019" marR="0" indent="-232019" algn="l" defTabSz="825500" latinLnBrk="0">
                <a:lnSpc>
                  <a:spcPct val="130000"/>
                </a:lnSpc>
                <a:spcBef>
                  <a:spcPts val="5200"/>
                </a:spcBef>
                <a:spcAft>
                  <a:spcPts val="0"/>
                </a:spcAft>
                <a:buClrTx/>
                <a:buSzPct val="75000"/>
                <a:buFontTx/>
                <a:buChar char="•"/>
                <a:tabLst/>
                <a:defRPr sz="1900" b="0" i="0" u="none" strike="noStrike" cap="none" spc="0" baseline="0">
                  <a:ln>
                    <a:noFill/>
                  </a:ln>
                  <a:solidFill>
                    <a:srgbClr val="888B8C"/>
                  </a:solidFill>
                  <a:uFillTx/>
                  <a:latin typeface="Open Sans"/>
                  <a:ea typeface="Open Sans"/>
                  <a:cs typeface="Open Sans"/>
                  <a:sym typeface="Open Sans"/>
                </a:defRPr>
              </a:lvl7pPr>
              <a:lvl8pPr marL="4677019" marR="0" indent="-232019" algn="l" defTabSz="825500" latinLnBrk="0">
                <a:lnSpc>
                  <a:spcPct val="130000"/>
                </a:lnSpc>
                <a:spcBef>
                  <a:spcPts val="5200"/>
                </a:spcBef>
                <a:spcAft>
                  <a:spcPts val="0"/>
                </a:spcAft>
                <a:buClrTx/>
                <a:buSzPct val="75000"/>
                <a:buFontTx/>
                <a:buChar char="•"/>
                <a:tabLst/>
                <a:defRPr sz="1900" b="0" i="0" u="none" strike="noStrike" cap="none" spc="0" baseline="0">
                  <a:ln>
                    <a:noFill/>
                  </a:ln>
                  <a:solidFill>
                    <a:srgbClr val="888B8C"/>
                  </a:solidFill>
                  <a:uFillTx/>
                  <a:latin typeface="Open Sans"/>
                  <a:ea typeface="Open Sans"/>
                  <a:cs typeface="Open Sans"/>
                  <a:sym typeface="Open Sans"/>
                </a:defRPr>
              </a:lvl8pPr>
              <a:lvl9pPr marL="5312019" marR="0" indent="-232019" algn="l" defTabSz="825500" latinLnBrk="0">
                <a:lnSpc>
                  <a:spcPct val="130000"/>
                </a:lnSpc>
                <a:spcBef>
                  <a:spcPts val="5200"/>
                </a:spcBef>
                <a:spcAft>
                  <a:spcPts val="0"/>
                </a:spcAft>
                <a:buClrTx/>
                <a:buSzPct val="75000"/>
                <a:buFontTx/>
                <a:buChar char="•"/>
                <a:tabLst/>
                <a:defRPr sz="1900" b="0" i="0" u="none" strike="noStrike" cap="none" spc="0" baseline="0">
                  <a:ln>
                    <a:noFill/>
                  </a:ln>
                  <a:solidFill>
                    <a:srgbClr val="888B8C"/>
                  </a:solidFill>
                  <a:uFillTx/>
                  <a:latin typeface="Open Sans"/>
                  <a:ea typeface="Open Sans"/>
                  <a:cs typeface="Open Sans"/>
                  <a:sym typeface="Open Sans"/>
                </a:defRPr>
              </a:lvl9pPr>
            </a:lstStyle>
            <a:p>
              <a:pPr marL="0" indent="0">
                <a:spcBef>
                  <a:spcPts val="0"/>
                </a:spcBef>
                <a:buSzTx/>
                <a:buNone/>
              </a:pPr>
              <a:r>
                <a:rPr lang="de-DE" sz="1800" b="1" dirty="0">
                  <a:solidFill>
                    <a:srgbClr val="35E7C5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Isolieren </a:t>
              </a:r>
              <a:r>
                <a:rPr lang="de-DE" sz="1800" dirty="0">
                  <a:solidFill>
                    <a:srgbClr val="323232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Sie standortspezifische Ereignisse von Problemen für die gesamte Infrastruktur </a:t>
              </a:r>
              <a:endParaRPr lang="de-DE" sz="1800" b="1" dirty="0">
                <a:solidFill>
                  <a:srgbClr val="35E7C5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37" name="Shape">
              <a:extLst>
                <a:ext uri="{FF2B5EF4-FFF2-40B4-BE49-F238E27FC236}">
                  <a16:creationId xmlns:a16="http://schemas.microsoft.com/office/drawing/2014/main" id="{5C05D091-80EA-4512-A465-2F996AA52D03}"/>
                </a:ext>
              </a:extLst>
            </p:cNvPr>
            <p:cNvSpPr/>
            <p:nvPr/>
          </p:nvSpPr>
          <p:spPr>
            <a:xfrm>
              <a:off x="2574930" y="4090122"/>
              <a:ext cx="342362" cy="49536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80" h="21600" extrusionOk="0">
                  <a:moveTo>
                    <a:pt x="9856" y="0"/>
                  </a:moveTo>
                  <a:cubicBezTo>
                    <a:pt x="7173" y="0"/>
                    <a:pt x="4736" y="811"/>
                    <a:pt x="2879" y="2251"/>
                  </a:cubicBezTo>
                  <a:cubicBezTo>
                    <a:pt x="-960" y="5162"/>
                    <a:pt x="-960" y="9933"/>
                    <a:pt x="2879" y="12907"/>
                  </a:cubicBezTo>
                  <a:lnTo>
                    <a:pt x="4110" y="11973"/>
                  </a:lnTo>
                  <a:cubicBezTo>
                    <a:pt x="1014" y="9532"/>
                    <a:pt x="1014" y="5627"/>
                    <a:pt x="4110" y="3185"/>
                  </a:cubicBezTo>
                  <a:cubicBezTo>
                    <a:pt x="5637" y="2027"/>
                    <a:pt x="7709" y="1365"/>
                    <a:pt x="9856" y="1365"/>
                  </a:cubicBezTo>
                  <a:cubicBezTo>
                    <a:pt x="12002" y="1365"/>
                    <a:pt x="14011" y="2027"/>
                    <a:pt x="15538" y="3185"/>
                  </a:cubicBezTo>
                  <a:cubicBezTo>
                    <a:pt x="18675" y="5627"/>
                    <a:pt x="18675" y="9532"/>
                    <a:pt x="15538" y="11973"/>
                  </a:cubicBezTo>
                  <a:lnTo>
                    <a:pt x="16801" y="12907"/>
                  </a:lnTo>
                  <a:cubicBezTo>
                    <a:pt x="20640" y="9996"/>
                    <a:pt x="20640" y="5225"/>
                    <a:pt x="16801" y="2251"/>
                  </a:cubicBezTo>
                  <a:cubicBezTo>
                    <a:pt x="14943" y="811"/>
                    <a:pt x="12415" y="0"/>
                    <a:pt x="9856" y="0"/>
                  </a:cubicBezTo>
                  <a:close/>
                  <a:moveTo>
                    <a:pt x="9856" y="3424"/>
                  </a:moveTo>
                  <a:cubicBezTo>
                    <a:pt x="6927" y="3424"/>
                    <a:pt x="4489" y="5219"/>
                    <a:pt x="4489" y="7471"/>
                  </a:cubicBezTo>
                  <a:cubicBezTo>
                    <a:pt x="4489" y="9693"/>
                    <a:pt x="6886" y="11542"/>
                    <a:pt x="9856" y="11542"/>
                  </a:cubicBezTo>
                  <a:cubicBezTo>
                    <a:pt x="12784" y="11542"/>
                    <a:pt x="15159" y="9693"/>
                    <a:pt x="15159" y="7471"/>
                  </a:cubicBezTo>
                  <a:cubicBezTo>
                    <a:pt x="15160" y="5219"/>
                    <a:pt x="12826" y="3424"/>
                    <a:pt x="9856" y="3424"/>
                  </a:cubicBezTo>
                  <a:close/>
                  <a:moveTo>
                    <a:pt x="9856" y="4789"/>
                  </a:moveTo>
                  <a:cubicBezTo>
                    <a:pt x="11794" y="4789"/>
                    <a:pt x="13392" y="5970"/>
                    <a:pt x="13392" y="7471"/>
                  </a:cubicBezTo>
                  <a:cubicBezTo>
                    <a:pt x="13392" y="8942"/>
                    <a:pt x="11836" y="10201"/>
                    <a:pt x="9856" y="10201"/>
                  </a:cubicBezTo>
                  <a:cubicBezTo>
                    <a:pt x="7917" y="10201"/>
                    <a:pt x="6257" y="8942"/>
                    <a:pt x="6257" y="7471"/>
                  </a:cubicBezTo>
                  <a:cubicBezTo>
                    <a:pt x="6257" y="5970"/>
                    <a:pt x="7876" y="4789"/>
                    <a:pt x="9856" y="4789"/>
                  </a:cubicBezTo>
                  <a:close/>
                  <a:moveTo>
                    <a:pt x="6099" y="14608"/>
                  </a:moveTo>
                  <a:lnTo>
                    <a:pt x="4678" y="15278"/>
                  </a:lnTo>
                  <a:lnTo>
                    <a:pt x="9856" y="21600"/>
                  </a:lnTo>
                  <a:lnTo>
                    <a:pt x="15002" y="15278"/>
                  </a:lnTo>
                  <a:lnTo>
                    <a:pt x="13581" y="14608"/>
                  </a:lnTo>
                  <a:lnTo>
                    <a:pt x="9856" y="19062"/>
                  </a:lnTo>
                  <a:lnTo>
                    <a:pt x="6099" y="14608"/>
                  </a:lnTo>
                  <a:close/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22860" rIns="22860" anchor="ctr"/>
            <a:lstStyle>
              <a:defPPr marL="0" marR="0" indent="0" algn="l" defTabSz="9144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</a:defRPr>
              </a:defPPr>
              <a:lvl1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Raleway Light"/>
                </a:defRPr>
              </a:lvl1pPr>
              <a:lvl2pPr marL="0" marR="0" indent="2286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Raleway Light"/>
                </a:defRPr>
              </a:lvl2pPr>
              <a:lvl3pPr marL="0" marR="0" indent="4572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Raleway Light"/>
                </a:defRPr>
              </a:lvl3pPr>
              <a:lvl4pPr marL="0" marR="0" indent="6858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Raleway Light"/>
                </a:defRPr>
              </a:lvl4pPr>
              <a:lvl5pPr marL="0" marR="0" indent="9144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Raleway Light"/>
                </a:defRPr>
              </a:lvl5pPr>
              <a:lvl6pPr marL="0" marR="0" indent="11430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Raleway Light"/>
                </a:defRPr>
              </a:lvl6pPr>
              <a:lvl7pPr marL="0" marR="0" indent="13716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Raleway Light"/>
                </a:defRPr>
              </a:lvl7pPr>
              <a:lvl8pPr marL="0" marR="0" indent="16002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Raleway Light"/>
                </a:defRPr>
              </a:lvl8pPr>
              <a:lvl9pPr marL="0" marR="0" indent="18288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Raleway Light"/>
                </a:defRPr>
              </a:lvl9pPr>
            </a:lstStyle>
            <a:p>
              <a:pPr algn="l" defTabSz="228600">
                <a:lnSpc>
                  <a:spcPct val="93000"/>
                </a:lnSpc>
                <a:defRPr sz="1800">
                  <a:latin typeface="Raleway"/>
                  <a:ea typeface="Raleway"/>
                  <a:cs typeface="Raleway"/>
                  <a:sym typeface="Raleway"/>
                </a:defRPr>
              </a:pPr>
              <a:endParaRPr sz="900"/>
            </a:p>
          </p:txBody>
        </p:sp>
      </p:grpSp>
    </p:spTree>
    <p:extLst>
      <p:ext uri="{BB962C8B-B14F-4D97-AF65-F5344CB8AC3E}">
        <p14:creationId xmlns:p14="http://schemas.microsoft.com/office/powerpoint/2010/main" val="143798382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7451" y="5996416"/>
            <a:ext cx="1756524" cy="1171015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9505" y="6223347"/>
            <a:ext cx="1400751" cy="700376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994" y="6444768"/>
            <a:ext cx="1097238" cy="274310"/>
          </a:xfrm>
          <a:prstGeom prst="rect">
            <a:avLst/>
          </a:prstGeom>
        </p:spPr>
      </p:pic>
      <p:pic>
        <p:nvPicPr>
          <p:cNvPr id="13" name="Grafik 12" descr="Ein Bild, das Objekt enthält.&#10;&#10;Mit hoher Zuverlässigkeit generierte Beschreibung">
            <a:extLst>
              <a:ext uri="{FF2B5EF4-FFF2-40B4-BE49-F238E27FC236}">
                <a16:creationId xmlns:a16="http://schemas.microsoft.com/office/drawing/2014/main" id="{E5AA72CE-8D17-4FBE-B09F-3FB0C215A16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9094" y="6318652"/>
            <a:ext cx="1049094" cy="431555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36FF77F4-36EF-4017-AB71-867871747EB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7675" y="6343150"/>
            <a:ext cx="2116822" cy="527882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6D0B10B2-C374-4192-88DA-CFF82B9A956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048" y="315357"/>
            <a:ext cx="2223164" cy="779950"/>
          </a:xfrm>
          <a:prstGeom prst="rect">
            <a:avLst/>
          </a:prstGeom>
        </p:spPr>
      </p:pic>
      <p:sp>
        <p:nvSpPr>
          <p:cNvPr id="14" name="Titel 1">
            <a:extLst>
              <a:ext uri="{FF2B5EF4-FFF2-40B4-BE49-F238E27FC236}">
                <a16:creationId xmlns:a16="http://schemas.microsoft.com/office/drawing/2014/main" id="{F2CD2A51-0F8F-4617-BD22-C4A2B0C6256C}"/>
              </a:ext>
            </a:extLst>
          </p:cNvPr>
          <p:cNvSpPr txBox="1">
            <a:spLocks/>
          </p:cNvSpPr>
          <p:nvPr/>
        </p:nvSpPr>
        <p:spPr>
          <a:xfrm>
            <a:off x="2698506" y="315357"/>
            <a:ext cx="9144000" cy="68892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rgbClr val="00B0F0"/>
                </a:solidFill>
                <a:latin typeface="Segoe UI Light" panose="020B0502040204020203" pitchFamily="34" charset="0"/>
                <a:ea typeface="+mj-ea"/>
                <a:cs typeface="Segoe UI Light" panose="020B0502040204020203" pitchFamily="34" charset="0"/>
              </a:defRPr>
            </a:lvl1pPr>
          </a:lstStyle>
          <a:p>
            <a:pPr algn="l"/>
            <a:r>
              <a:rPr lang="de-DE" sz="3600" dirty="0"/>
              <a:t>Lizenzverwaltung – Nutzung 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DCB8E933-A5C7-444D-B0E3-432AB6D98F57}"/>
              </a:ext>
            </a:extLst>
          </p:cNvPr>
          <p:cNvSpPr txBox="1"/>
          <p:nvPr/>
        </p:nvSpPr>
        <p:spPr>
          <a:xfrm>
            <a:off x="389150" y="1581181"/>
            <a:ext cx="5939661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lvl="1" indent="-228600">
              <a:buClr>
                <a:schemeClr val="accent1">
                  <a:lumMod val="100000"/>
                </a:schemeClr>
              </a:buClr>
              <a:buSzPct val="100000"/>
              <a:buFont typeface="Wingdings" panose="05000000000000000000" pitchFamily="2" charset="2"/>
              <a:buChar char="§"/>
            </a:pPr>
            <a:r>
              <a:rPr lang="de-DE" b="1" dirty="0">
                <a:latin typeface="Segoe UI Light" panose="020B0502040204020203" pitchFamily="34" charset="0"/>
                <a:cs typeface="Segoe UI Light" panose="020B0502040204020203" pitchFamily="34" charset="0"/>
              </a:rPr>
              <a:t>Welche Dienste werden verwendet</a:t>
            </a:r>
          </a:p>
          <a:p>
            <a:pPr marL="685800" lvl="2" indent="-228600">
              <a:buClr>
                <a:schemeClr val="accent1">
                  <a:lumMod val="100000"/>
                </a:schemeClr>
              </a:buClr>
              <a:buSzPct val="100000"/>
              <a:buFont typeface="Wingdings" panose="05000000000000000000" pitchFamily="2" charset="2"/>
              <a:buChar char="§"/>
            </a:pPr>
            <a:r>
              <a:rPr lang="de-DE" dirty="0">
                <a:latin typeface="Segoe UI Light" panose="020B0502040204020203" pitchFamily="34" charset="0"/>
                <a:cs typeface="Segoe UI Light" panose="020B0502040204020203" pitchFamily="34" charset="0"/>
              </a:rPr>
              <a:t>Nutzungsvergleich je Dienste</a:t>
            </a:r>
          </a:p>
          <a:p>
            <a:pPr marL="685800" lvl="2" indent="-228600">
              <a:buClr>
                <a:schemeClr val="accent1">
                  <a:lumMod val="100000"/>
                </a:schemeClr>
              </a:buClr>
              <a:buSzPct val="100000"/>
              <a:buFont typeface="Wingdings" panose="05000000000000000000" pitchFamily="2" charset="2"/>
              <a:buChar char="§"/>
            </a:pPr>
            <a:r>
              <a:rPr lang="de-DE" dirty="0">
                <a:latin typeface="Segoe UI Light" panose="020B0502040204020203" pitchFamily="34" charset="0"/>
                <a:cs typeface="Segoe UI Light" panose="020B0502040204020203" pitchFamily="34" charset="0"/>
              </a:rPr>
              <a:t>Dienstnutzung je Anwender, Abteilung oder Organisation</a:t>
            </a:r>
          </a:p>
          <a:p>
            <a:pPr marL="228600" lvl="1" indent="-228600">
              <a:buClr>
                <a:schemeClr val="accent1">
                  <a:lumMod val="100000"/>
                </a:schemeClr>
              </a:buClr>
              <a:buSzPct val="100000"/>
              <a:buFont typeface="Wingdings" panose="05000000000000000000" pitchFamily="2" charset="2"/>
              <a:buChar char="§"/>
            </a:pPr>
            <a:r>
              <a:rPr lang="de-DE" b="1" dirty="0">
                <a:latin typeface="Segoe UI Light" panose="020B0502040204020203" pitchFamily="34" charset="0"/>
                <a:cs typeface="Segoe UI Light" panose="020B0502040204020203" pitchFamily="34" charset="0"/>
              </a:rPr>
              <a:t>Verbesserung des Office 365 ROI</a:t>
            </a:r>
          </a:p>
          <a:p>
            <a:pPr marL="685800" lvl="2" indent="-228600">
              <a:buClr>
                <a:schemeClr val="accent1">
                  <a:lumMod val="100000"/>
                </a:schemeClr>
              </a:buClr>
              <a:buSzPct val="100000"/>
              <a:buFont typeface="Wingdings" panose="05000000000000000000" pitchFamily="2" charset="2"/>
              <a:buChar char="§"/>
            </a:pPr>
            <a:r>
              <a:rPr lang="de-DE" dirty="0">
                <a:latin typeface="Segoe UI Light" panose="020B0502040204020203" pitchFamily="34" charset="0"/>
                <a:cs typeface="Segoe UI Light" panose="020B0502040204020203" pitchFamily="34" charset="0"/>
              </a:rPr>
              <a:t>Identifikation, welche Abteilungen Dienste nicht nutzen</a:t>
            </a:r>
          </a:p>
          <a:p>
            <a:pPr marL="228600" lvl="1" indent="-228600">
              <a:buClr>
                <a:schemeClr val="accent1">
                  <a:lumMod val="100000"/>
                </a:schemeClr>
              </a:buClr>
              <a:buSzPct val="100000"/>
              <a:buFont typeface="Wingdings" panose="05000000000000000000" pitchFamily="2" charset="2"/>
              <a:buChar char="§"/>
            </a:pPr>
            <a:r>
              <a:rPr lang="de-DE" b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izenzzuweisung nach Gruppen</a:t>
            </a:r>
            <a:br>
              <a:rPr lang="de-DE" b="1" dirty="0"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endParaRPr lang="de-DE" b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228600" lvl="1" indent="-228600">
              <a:buClr>
                <a:schemeClr val="accent1">
                  <a:lumMod val="100000"/>
                </a:schemeClr>
              </a:buClr>
              <a:buSzPct val="100000"/>
              <a:buFont typeface="Wingdings" panose="05000000000000000000" pitchFamily="2" charset="2"/>
              <a:buChar char="§"/>
            </a:pPr>
            <a:r>
              <a:rPr lang="de-DE" b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izenz-Dashboard und E-Mail-Benachrichtigungen über Gruppenmitgliedschaften steuerbar</a:t>
            </a:r>
            <a:br>
              <a:rPr lang="de-DE" b="1" dirty="0"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endParaRPr lang="de-DE" b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228600" lvl="1" indent="-228600">
              <a:buClr>
                <a:schemeClr val="accent1">
                  <a:lumMod val="100000"/>
                </a:schemeClr>
              </a:buClr>
              <a:buSzPct val="100000"/>
              <a:buFont typeface="Wingdings" panose="05000000000000000000" pitchFamily="2" charset="2"/>
              <a:buChar char="§"/>
            </a:pPr>
            <a:r>
              <a:rPr lang="de-DE" b="1" dirty="0">
                <a:latin typeface="Segoe UI Light" panose="020B0502040204020203" pitchFamily="34" charset="0"/>
                <a:cs typeface="Segoe UI Light" panose="020B0502040204020203" pitchFamily="34" charset="0"/>
              </a:rPr>
              <a:t>Erfordert keine Power-BI Pro Lizenz zur Nutzung</a:t>
            </a:r>
          </a:p>
        </p:txBody>
      </p:sp>
      <p:pic>
        <p:nvPicPr>
          <p:cNvPr id="48" name="Picture 2" descr="image001">
            <a:extLst>
              <a:ext uri="{FF2B5EF4-FFF2-40B4-BE49-F238E27FC236}">
                <a16:creationId xmlns:a16="http://schemas.microsoft.com/office/drawing/2014/main" id="{CDDA723C-8505-47D7-B395-61123367CB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0256" y="1581181"/>
            <a:ext cx="5564552" cy="29622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3136188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7451" y="5996416"/>
            <a:ext cx="1756524" cy="1171015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9505" y="6223347"/>
            <a:ext cx="1400751" cy="700376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994" y="6444768"/>
            <a:ext cx="1097238" cy="274310"/>
          </a:xfrm>
          <a:prstGeom prst="rect">
            <a:avLst/>
          </a:prstGeom>
        </p:spPr>
      </p:pic>
      <p:pic>
        <p:nvPicPr>
          <p:cNvPr id="13" name="Grafik 12" descr="Ein Bild, das Objekt enthält.&#10;&#10;Mit hoher Zuverlässigkeit generierte Beschreibung">
            <a:extLst>
              <a:ext uri="{FF2B5EF4-FFF2-40B4-BE49-F238E27FC236}">
                <a16:creationId xmlns:a16="http://schemas.microsoft.com/office/drawing/2014/main" id="{E5AA72CE-8D17-4FBE-B09F-3FB0C215A16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9094" y="6318652"/>
            <a:ext cx="1049094" cy="431555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36FF77F4-36EF-4017-AB71-867871747EB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7675" y="6343150"/>
            <a:ext cx="2116822" cy="527882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6D0B10B2-C374-4192-88DA-CFF82B9A956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048" y="315357"/>
            <a:ext cx="2223164" cy="779950"/>
          </a:xfrm>
          <a:prstGeom prst="rect">
            <a:avLst/>
          </a:prstGeom>
        </p:spPr>
      </p:pic>
      <p:sp>
        <p:nvSpPr>
          <p:cNvPr id="14" name="Titel 1">
            <a:extLst>
              <a:ext uri="{FF2B5EF4-FFF2-40B4-BE49-F238E27FC236}">
                <a16:creationId xmlns:a16="http://schemas.microsoft.com/office/drawing/2014/main" id="{F2CD2A51-0F8F-4617-BD22-C4A2B0C6256C}"/>
              </a:ext>
            </a:extLst>
          </p:cNvPr>
          <p:cNvSpPr txBox="1">
            <a:spLocks/>
          </p:cNvSpPr>
          <p:nvPr/>
        </p:nvSpPr>
        <p:spPr>
          <a:xfrm>
            <a:off x="2698506" y="315357"/>
            <a:ext cx="9144000" cy="68892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rgbClr val="00B0F0"/>
                </a:solidFill>
                <a:latin typeface="Segoe UI Light" panose="020B0502040204020203" pitchFamily="34" charset="0"/>
                <a:ea typeface="+mj-ea"/>
                <a:cs typeface="Segoe UI Light" panose="020B0502040204020203" pitchFamily="34" charset="0"/>
              </a:defRPr>
            </a:lvl1pPr>
          </a:lstStyle>
          <a:p>
            <a:pPr algn="l"/>
            <a:r>
              <a:rPr lang="de-DE" sz="3600" dirty="0"/>
              <a:t>Lizenzverwaltung – Kostenkontrolle 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DCB8E933-A5C7-444D-B0E3-432AB6D98F57}"/>
              </a:ext>
            </a:extLst>
          </p:cNvPr>
          <p:cNvSpPr txBox="1"/>
          <p:nvPr/>
        </p:nvSpPr>
        <p:spPr>
          <a:xfrm>
            <a:off x="389151" y="1581181"/>
            <a:ext cx="5706850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lvl="1" indent="-228600">
              <a:buClr>
                <a:schemeClr val="accent1">
                  <a:lumMod val="100000"/>
                </a:schemeClr>
              </a:buClr>
              <a:buSzPct val="100000"/>
              <a:buFont typeface="Wingdings" panose="05000000000000000000" pitchFamily="2" charset="2"/>
              <a:buChar char="§"/>
            </a:pPr>
            <a:r>
              <a:rPr lang="de-DE" dirty="0">
                <a:latin typeface="Segoe UI Light" panose="020B0502040204020203" pitchFamily="34" charset="0"/>
                <a:cs typeface="Segoe UI Light" panose="020B0502040204020203" pitchFamily="34" charset="0"/>
              </a:rPr>
              <a:t>Ermöglicht es Ihnen, versteckte Office 365-Kosten, Prognosen und Kostenersparnisse zu erfassen, um eine Kostenkontrolle zu gewährleisten</a:t>
            </a:r>
            <a:br>
              <a:rPr lang="de-DE" dirty="0"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endParaRPr lang="de-DE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685800" lvl="2" indent="-228600">
              <a:buClr>
                <a:schemeClr val="accent1">
                  <a:lumMod val="100000"/>
                </a:schemeClr>
              </a:buClr>
              <a:buSzPct val="100000"/>
              <a:buFont typeface="Wingdings" panose="05000000000000000000" pitchFamily="2" charset="2"/>
              <a:buChar char="§"/>
            </a:pPr>
            <a:r>
              <a:rPr lang="de-DE" dirty="0">
                <a:latin typeface="Segoe UI Light" panose="020B0502040204020203" pitchFamily="34" charset="0"/>
                <a:cs typeface="Segoe UI Light" panose="020B0502040204020203" pitchFamily="34" charset="0"/>
              </a:rPr>
              <a:t>Historie der Lizenzkäufe</a:t>
            </a:r>
          </a:p>
          <a:p>
            <a:pPr marL="685800" lvl="2" indent="-228600">
              <a:buClr>
                <a:schemeClr val="accent1">
                  <a:lumMod val="100000"/>
                </a:schemeClr>
              </a:buClr>
              <a:buSzPct val="100000"/>
              <a:buFont typeface="Wingdings" panose="05000000000000000000" pitchFamily="2" charset="2"/>
              <a:buChar char="§"/>
            </a:pPr>
            <a:r>
              <a:rPr lang="de-DE" dirty="0">
                <a:latin typeface="Segoe UI Light" panose="020B0502040204020203" pitchFamily="34" charset="0"/>
                <a:cs typeface="Segoe UI Light" panose="020B0502040204020203" pitchFamily="34" charset="0"/>
              </a:rPr>
              <a:t>Lizenzkosten je Abteilung</a:t>
            </a:r>
          </a:p>
          <a:p>
            <a:pPr marL="685800" lvl="2" indent="-228600">
              <a:buClr>
                <a:schemeClr val="accent1">
                  <a:lumMod val="100000"/>
                </a:schemeClr>
              </a:buClr>
              <a:buSzPct val="100000"/>
              <a:buFont typeface="Wingdings" panose="05000000000000000000" pitchFamily="2" charset="2"/>
              <a:buChar char="§"/>
            </a:pPr>
            <a:r>
              <a:rPr lang="de-DE" dirty="0">
                <a:latin typeface="Segoe UI Light" panose="020B0502040204020203" pitchFamily="34" charset="0"/>
                <a:cs typeface="Segoe UI Light" panose="020B0502040204020203" pitchFamily="34" charset="0"/>
              </a:rPr>
              <a:t>Identifikation unnötiger Lizenznutzung </a:t>
            </a:r>
            <a:br>
              <a:rPr lang="de-DE" dirty="0"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de-DE" dirty="0">
                <a:latin typeface="Segoe UI Light" panose="020B0502040204020203" pitchFamily="34" charset="0"/>
                <a:cs typeface="Segoe UI Light" panose="020B0502040204020203" pitchFamily="34" charset="0"/>
              </a:rPr>
              <a:t>(inaktive Anwender)</a:t>
            </a:r>
          </a:p>
          <a:p>
            <a:pPr marL="685800" lvl="2" indent="-228600">
              <a:buClr>
                <a:schemeClr val="accent1">
                  <a:lumMod val="100000"/>
                </a:schemeClr>
              </a:buClr>
              <a:buSzPct val="100000"/>
              <a:buFont typeface="Wingdings" panose="05000000000000000000" pitchFamily="2" charset="2"/>
              <a:buChar char="§"/>
            </a:pPr>
            <a:endParaRPr lang="de-DE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228600" lvl="1" indent="-228600">
              <a:buClr>
                <a:schemeClr val="accent1">
                  <a:lumMod val="100000"/>
                </a:schemeClr>
              </a:buClr>
              <a:buSzPct val="100000"/>
              <a:buFont typeface="Wingdings" panose="05000000000000000000" pitchFamily="2" charset="2"/>
              <a:buChar char="§"/>
            </a:pPr>
            <a:endParaRPr lang="de-DE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228600" lvl="1" indent="-228600">
              <a:buClr>
                <a:schemeClr val="accent1">
                  <a:lumMod val="100000"/>
                </a:schemeClr>
              </a:buClr>
              <a:buSzPct val="100000"/>
              <a:buFont typeface="Wingdings" panose="05000000000000000000" pitchFamily="2" charset="2"/>
              <a:buChar char="§"/>
            </a:pPr>
            <a:endParaRPr lang="de-DE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228600" lvl="1" indent="-228600">
              <a:buClr>
                <a:schemeClr val="accent1">
                  <a:lumMod val="100000"/>
                </a:schemeClr>
              </a:buClr>
              <a:buSzPct val="100000"/>
              <a:buFont typeface="Wingdings" panose="05000000000000000000" pitchFamily="2" charset="2"/>
              <a:buChar char="§"/>
            </a:pPr>
            <a:endParaRPr lang="de-DE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0" lvl="1">
              <a:buClr>
                <a:schemeClr val="accent1">
                  <a:lumMod val="100000"/>
                </a:schemeClr>
              </a:buClr>
              <a:buSzPct val="100000"/>
            </a:pPr>
            <a:r>
              <a:rPr lang="de-DE" dirty="0">
                <a:latin typeface="Segoe UI Light" panose="020B0502040204020203" pitchFamily="34" charset="0"/>
                <a:cs typeface="Segoe UI Light" panose="020B0502040204020203" pitchFamily="34" charset="0"/>
              </a:rPr>
              <a:t>14-Tage Trial: </a:t>
            </a:r>
            <a:r>
              <a:rPr lang="de-DE" dirty="0">
                <a:latin typeface="Segoe UI Light" panose="020B0502040204020203" pitchFamily="34" charset="0"/>
                <a:cs typeface="Segoe UI Light" panose="020B0502040204020203" pitchFamily="34" charset="0"/>
                <a:hlinkClick r:id="rId8"/>
              </a:rPr>
              <a:t>https://go.granikos.eu/Mailscape365Trial</a:t>
            </a:r>
            <a:r>
              <a:rPr lang="de-DE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</a:p>
        </p:txBody>
      </p:sp>
      <p:pic>
        <p:nvPicPr>
          <p:cNvPr id="11" name="Picture 2" descr="2f81287c-e010-4536-baee-8575bee7f2ce">
            <a:extLst>
              <a:ext uri="{FF2B5EF4-FFF2-40B4-BE49-F238E27FC236}">
                <a16:creationId xmlns:a16="http://schemas.microsoft.com/office/drawing/2014/main" id="{D8A8476F-8314-47F7-BAF0-03A3112039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63932" y="1583169"/>
            <a:ext cx="5640565" cy="298431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3311236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3999" y="1122363"/>
            <a:ext cx="9405515" cy="2387600"/>
          </a:xfrm>
        </p:spPr>
        <p:txBody>
          <a:bodyPr>
            <a:normAutofit/>
          </a:bodyPr>
          <a:lstStyle/>
          <a:p>
            <a:r>
              <a:rPr lang="de-DE" sz="5400" dirty="0"/>
              <a:t>Fragen?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EB2FB63C-ADD7-4D0D-9A63-1C29A12A6E1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9505" y="6223347"/>
            <a:ext cx="1400751" cy="700376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CF3EEF15-1C22-46DB-9930-DE161390DEF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994" y="6444768"/>
            <a:ext cx="1097238" cy="274310"/>
          </a:xfrm>
          <a:prstGeom prst="rect">
            <a:avLst/>
          </a:prstGeom>
        </p:spPr>
      </p:pic>
      <p:pic>
        <p:nvPicPr>
          <p:cNvPr id="12" name="Grafik 11" descr="Ein Bild, das Objekt enthält.&#10;&#10;Mit hoher Zuverlässigkeit generierte Beschreibung">
            <a:extLst>
              <a:ext uri="{FF2B5EF4-FFF2-40B4-BE49-F238E27FC236}">
                <a16:creationId xmlns:a16="http://schemas.microsoft.com/office/drawing/2014/main" id="{06E33417-234E-4370-A452-8D8AB815AFB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9094" y="6318652"/>
            <a:ext cx="1049094" cy="431555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EEB5F91D-98AE-4AA3-B8CE-FBD9EB345C3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7675" y="6343150"/>
            <a:ext cx="2116822" cy="527882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D64B02FC-0A6B-45BC-A21C-1D1425AEC196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7451" y="5996416"/>
            <a:ext cx="1756524" cy="1171015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342493E4-AB5D-4052-87B7-25D5405ACC7E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048" y="315357"/>
            <a:ext cx="2223164" cy="779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667325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3999" y="1122363"/>
            <a:ext cx="9405515" cy="2387600"/>
          </a:xfrm>
        </p:spPr>
        <p:txBody>
          <a:bodyPr>
            <a:normAutofit/>
          </a:bodyPr>
          <a:lstStyle/>
          <a:p>
            <a:r>
              <a:rPr lang="de-DE" sz="5400" dirty="0"/>
              <a:t>Ich freue mich auf Ihr Feedback!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9DF179CD-4D1C-401F-8A47-752F7037BAA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9505" y="6223347"/>
            <a:ext cx="1400751" cy="700376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77A45618-E62C-446C-8FA4-02F923D104D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994" y="6444768"/>
            <a:ext cx="1097238" cy="274310"/>
          </a:xfrm>
          <a:prstGeom prst="rect">
            <a:avLst/>
          </a:prstGeom>
        </p:spPr>
      </p:pic>
      <p:pic>
        <p:nvPicPr>
          <p:cNvPr id="12" name="Grafik 11" descr="Ein Bild, das Objekt enthält.&#10;&#10;Mit hoher Zuverlässigkeit generierte Beschreibung">
            <a:extLst>
              <a:ext uri="{FF2B5EF4-FFF2-40B4-BE49-F238E27FC236}">
                <a16:creationId xmlns:a16="http://schemas.microsoft.com/office/drawing/2014/main" id="{8961DF7C-B13A-4F83-80E1-6E1C18F7E15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9094" y="6318652"/>
            <a:ext cx="1049094" cy="431555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60045382-8E7C-4542-B20E-1442CA72252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7675" y="6343150"/>
            <a:ext cx="2116822" cy="527882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FE870017-9AAE-4281-9ECC-6941ACC16C05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7451" y="5996416"/>
            <a:ext cx="1756524" cy="1171015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43D2974D-9C8D-4A22-ADDD-753FCD2A4AD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048" y="315357"/>
            <a:ext cx="2223164" cy="779950"/>
          </a:xfrm>
          <a:prstGeom prst="rect">
            <a:avLst/>
          </a:prstGeom>
        </p:spPr>
      </p:pic>
      <p:sp>
        <p:nvSpPr>
          <p:cNvPr id="9" name="Untertitel 9">
            <a:extLst>
              <a:ext uri="{FF2B5EF4-FFF2-40B4-BE49-F238E27FC236}">
                <a16:creationId xmlns:a16="http://schemas.microsoft.com/office/drawing/2014/main" id="{3D816D30-7869-4FD3-9C0D-CD0ED3E856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3999" y="4727530"/>
            <a:ext cx="9144000" cy="1171015"/>
          </a:xfrm>
        </p:spPr>
        <p:txBody>
          <a:bodyPr>
            <a:normAutofit fontScale="92500" lnSpcReduction="10000"/>
          </a:bodyPr>
          <a:lstStyle/>
          <a:p>
            <a:pPr algn="l"/>
            <a:r>
              <a:rPr lang="de-DE" dirty="0"/>
              <a:t>E-Mail: </a:t>
            </a:r>
            <a:r>
              <a:rPr lang="de-DE" b="1" i="1" dirty="0"/>
              <a:t>Thomas.Stensitzki@Granikos.eu</a:t>
            </a:r>
          </a:p>
          <a:p>
            <a:pPr algn="l"/>
            <a:r>
              <a:rPr lang="de-DE" dirty="0"/>
              <a:t>Twitter: </a:t>
            </a:r>
            <a:r>
              <a:rPr lang="de-DE" b="1" i="1" dirty="0"/>
              <a:t>@</a:t>
            </a:r>
            <a:r>
              <a:rPr lang="de-DE" b="1" i="1" dirty="0" err="1"/>
              <a:t>stensitzki</a:t>
            </a:r>
            <a:endParaRPr lang="de-DE" b="1" i="1" dirty="0"/>
          </a:p>
          <a:p>
            <a:pPr algn="l"/>
            <a:r>
              <a:rPr lang="de-DE" dirty="0"/>
              <a:t>Blog: </a:t>
            </a:r>
            <a:r>
              <a:rPr lang="de-DE" b="1" i="1" dirty="0">
                <a:hlinkClick r:id="rId8"/>
              </a:rPr>
              <a:t>http://blog.granikos.eu</a:t>
            </a:r>
            <a:endParaRPr lang="de-DE" b="1" i="1" dirty="0"/>
          </a:p>
        </p:txBody>
      </p:sp>
    </p:spTree>
    <p:extLst>
      <p:ext uri="{BB962C8B-B14F-4D97-AF65-F5344CB8AC3E}">
        <p14:creationId xmlns:p14="http://schemas.microsoft.com/office/powerpoint/2010/main" val="23336994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7451" y="5996416"/>
            <a:ext cx="1756524" cy="1171015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9505" y="6223347"/>
            <a:ext cx="1400751" cy="700376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048" y="6453661"/>
            <a:ext cx="1097238" cy="27431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404966" y="587290"/>
            <a:ext cx="9144000" cy="1016035"/>
          </a:xfrm>
        </p:spPr>
        <p:txBody>
          <a:bodyPr>
            <a:normAutofit fontScale="90000"/>
          </a:bodyPr>
          <a:lstStyle/>
          <a:p>
            <a:r>
              <a:rPr lang="de-DE" sz="4000" dirty="0"/>
              <a:t>Überwachung der Office 365 Benutzererfahrung</a:t>
            </a:r>
          </a:p>
        </p:txBody>
      </p:sp>
      <p:pic>
        <p:nvPicPr>
          <p:cNvPr id="13" name="Grafik 12" descr="Ein Bild, das Objekt enthält.&#10;&#10;Mit hoher Zuverlässigkeit generierte Beschreibung">
            <a:extLst>
              <a:ext uri="{FF2B5EF4-FFF2-40B4-BE49-F238E27FC236}">
                <a16:creationId xmlns:a16="http://schemas.microsoft.com/office/drawing/2014/main" id="{E5AA72CE-8D17-4FBE-B09F-3FB0C215A16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9094" y="6318652"/>
            <a:ext cx="1049094" cy="431555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36FF77F4-36EF-4017-AB71-867871747EB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7675" y="6343150"/>
            <a:ext cx="2116822" cy="527882"/>
          </a:xfrm>
          <a:prstGeom prst="rect">
            <a:avLst/>
          </a:prstGeom>
        </p:spPr>
      </p:pic>
      <p:sp>
        <p:nvSpPr>
          <p:cNvPr id="10" name="Untertitel 9">
            <a:extLst>
              <a:ext uri="{FF2B5EF4-FFF2-40B4-BE49-F238E27FC236}">
                <a16:creationId xmlns:a16="http://schemas.microsoft.com/office/drawing/2014/main" id="{B6C82018-3793-45F7-8433-BA8EB69B98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04966" y="2845380"/>
            <a:ext cx="9144000" cy="2251977"/>
          </a:xfrm>
        </p:spPr>
        <p:txBody>
          <a:bodyPr>
            <a:normAutofit fontScale="92500" lnSpcReduction="20000"/>
          </a:bodyPr>
          <a:lstStyle/>
          <a:p>
            <a:r>
              <a:rPr lang="de-DE" b="1" dirty="0"/>
              <a:t>Inhalt</a:t>
            </a:r>
          </a:p>
          <a:p>
            <a:r>
              <a:rPr lang="de-DE" dirty="0"/>
              <a:t>Verlagerung der Monitoring-Anforderungen</a:t>
            </a:r>
          </a:p>
          <a:p>
            <a:r>
              <a:rPr lang="de-DE" dirty="0"/>
              <a:t>Was bietet uns Microsoft?</a:t>
            </a:r>
          </a:p>
          <a:p>
            <a:r>
              <a:rPr lang="de-DE" dirty="0"/>
              <a:t>Office 365 Probleme, die Sie kennen sollten</a:t>
            </a:r>
          </a:p>
          <a:p>
            <a:r>
              <a:rPr lang="de-DE" dirty="0"/>
              <a:t>Lücken bei der Anwendungsüberwachung</a:t>
            </a:r>
          </a:p>
          <a:p>
            <a:r>
              <a:rPr lang="de-DE" dirty="0"/>
              <a:t>Die Lösung</a:t>
            </a:r>
          </a:p>
          <a:p>
            <a:endParaRPr lang="de-DE" dirty="0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FE575D6D-9CE8-4291-9451-9E73ED04736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048" y="315357"/>
            <a:ext cx="2223164" cy="779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998120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Vielen Dank!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FD5F2AF5-FEF7-40F8-B0E5-35AB1A83BD7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9505" y="6223347"/>
            <a:ext cx="1400751" cy="700376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27634141-9C5A-45AA-B848-15B6609031F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994" y="6444768"/>
            <a:ext cx="1097238" cy="274310"/>
          </a:xfrm>
          <a:prstGeom prst="rect">
            <a:avLst/>
          </a:prstGeom>
        </p:spPr>
      </p:pic>
      <p:pic>
        <p:nvPicPr>
          <p:cNvPr id="12" name="Grafik 11" descr="Ein Bild, das Objekt enthält.&#10;&#10;Mit hoher Zuverlässigkeit generierte Beschreibung">
            <a:extLst>
              <a:ext uri="{FF2B5EF4-FFF2-40B4-BE49-F238E27FC236}">
                <a16:creationId xmlns:a16="http://schemas.microsoft.com/office/drawing/2014/main" id="{58E5391D-0717-4339-85DF-68B11D764C9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9094" y="6318652"/>
            <a:ext cx="1049094" cy="431555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EB2D658C-A8D6-4B6C-9130-980979814CE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7675" y="6343150"/>
            <a:ext cx="2116822" cy="527882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9262E619-4723-4E47-BA25-490299749B4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7451" y="5996416"/>
            <a:ext cx="1756524" cy="1171015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9C91AA4B-76F2-4BB5-9D1D-C4274417197E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048" y="315357"/>
            <a:ext cx="2223164" cy="779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789305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7451" y="5996416"/>
            <a:ext cx="1756524" cy="1171015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9505" y="6223347"/>
            <a:ext cx="1400751" cy="700376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994" y="6444768"/>
            <a:ext cx="1097238" cy="27431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29859" y="1218723"/>
            <a:ext cx="9144000" cy="688925"/>
          </a:xfrm>
        </p:spPr>
        <p:txBody>
          <a:bodyPr>
            <a:normAutofit/>
          </a:bodyPr>
          <a:lstStyle/>
          <a:p>
            <a:pPr algn="l"/>
            <a:r>
              <a:rPr lang="de-DE" sz="3600" dirty="0"/>
              <a:t>Verlagerung der Monitoring-Anforderungen</a:t>
            </a:r>
          </a:p>
        </p:txBody>
      </p:sp>
      <p:pic>
        <p:nvPicPr>
          <p:cNvPr id="13" name="Grafik 12" descr="Ein Bild, das Objekt enthält.&#10;&#10;Mit hoher Zuverlässigkeit generierte Beschreibung">
            <a:extLst>
              <a:ext uri="{FF2B5EF4-FFF2-40B4-BE49-F238E27FC236}">
                <a16:creationId xmlns:a16="http://schemas.microsoft.com/office/drawing/2014/main" id="{E5AA72CE-8D17-4FBE-B09F-3FB0C215A16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9094" y="6318652"/>
            <a:ext cx="1049094" cy="431555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36FF77F4-36EF-4017-AB71-867871747EB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7675" y="6343150"/>
            <a:ext cx="2116822" cy="527882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A195C9F0-6D6D-40FF-A7A7-FFBE0258047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048" y="315357"/>
            <a:ext cx="2223164" cy="779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819576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7451" y="5996416"/>
            <a:ext cx="1756524" cy="1171015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9505" y="6223347"/>
            <a:ext cx="1400751" cy="700376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994" y="6444768"/>
            <a:ext cx="1097238" cy="274310"/>
          </a:xfrm>
          <a:prstGeom prst="rect">
            <a:avLst/>
          </a:prstGeom>
        </p:spPr>
      </p:pic>
      <p:pic>
        <p:nvPicPr>
          <p:cNvPr id="13" name="Grafik 12" descr="Ein Bild, das Objekt enthält.&#10;&#10;Mit hoher Zuverlässigkeit generierte Beschreibung">
            <a:extLst>
              <a:ext uri="{FF2B5EF4-FFF2-40B4-BE49-F238E27FC236}">
                <a16:creationId xmlns:a16="http://schemas.microsoft.com/office/drawing/2014/main" id="{E5AA72CE-8D17-4FBE-B09F-3FB0C215A16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9094" y="6318652"/>
            <a:ext cx="1049094" cy="431555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36FF77F4-36EF-4017-AB71-867871747EB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7675" y="6343150"/>
            <a:ext cx="2116822" cy="527882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E896EA5B-18A3-4F5A-8BF9-BF78D41D1208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048" y="315357"/>
            <a:ext cx="2223164" cy="779950"/>
          </a:xfrm>
          <a:prstGeom prst="rect">
            <a:avLst/>
          </a:prstGeom>
        </p:spPr>
      </p:pic>
      <p:pic>
        <p:nvPicPr>
          <p:cNvPr id="16" name="Picture 6" descr="Image result for exchange">
            <a:extLst>
              <a:ext uri="{FF2B5EF4-FFF2-40B4-BE49-F238E27FC236}">
                <a16:creationId xmlns:a16="http://schemas.microsoft.com/office/drawing/2014/main" id="{CC41B3A1-0F4B-445E-9982-F313EEE9BE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5492" y="1868472"/>
            <a:ext cx="3045050" cy="31520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8" descr="Image result for office 365">
            <a:extLst>
              <a:ext uri="{FF2B5EF4-FFF2-40B4-BE49-F238E27FC236}">
                <a16:creationId xmlns:a16="http://schemas.microsoft.com/office/drawing/2014/main" id="{73FDB7A6-1B1E-4B64-90E6-ACFF2C1D09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99434" y="1868472"/>
            <a:ext cx="3639379" cy="31520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3">
            <a:extLst>
              <a:ext uri="{FF2B5EF4-FFF2-40B4-BE49-F238E27FC236}">
                <a16:creationId xmlns:a16="http://schemas.microsoft.com/office/drawing/2014/main" id="{EFA25D47-6F3F-4CE7-98C3-45B42F9AC6D9}"/>
              </a:ext>
            </a:extLst>
          </p:cNvPr>
          <p:cNvSpPr txBox="1"/>
          <p:nvPr/>
        </p:nvSpPr>
        <p:spPr>
          <a:xfrm>
            <a:off x="5573485" y="2791992"/>
            <a:ext cx="104502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>
                <a:solidFill>
                  <a:srgbClr val="00B0F0"/>
                </a:solidFill>
                <a:latin typeface="Segoe UI Light" panose="020B0502040204020203" pitchFamily="34" charset="0"/>
                <a:ea typeface="+mj-ea"/>
                <a:cs typeface="Segoe UI Light" panose="020B0502040204020203" pitchFamily="34" charset="0"/>
              </a:rPr>
              <a:t>VS.</a:t>
            </a:r>
            <a:r>
              <a:rPr lang="en-US" sz="4800" dirty="0"/>
              <a:t> </a:t>
            </a:r>
          </a:p>
        </p:txBody>
      </p:sp>
      <p:sp>
        <p:nvSpPr>
          <p:cNvPr id="19" name="Titel 1">
            <a:extLst>
              <a:ext uri="{FF2B5EF4-FFF2-40B4-BE49-F238E27FC236}">
                <a16:creationId xmlns:a16="http://schemas.microsoft.com/office/drawing/2014/main" id="{AACFC5E4-6547-4C8A-A7C0-7A4627049468}"/>
              </a:ext>
            </a:extLst>
          </p:cNvPr>
          <p:cNvSpPr txBox="1">
            <a:spLocks/>
          </p:cNvSpPr>
          <p:nvPr/>
        </p:nvSpPr>
        <p:spPr>
          <a:xfrm>
            <a:off x="2698506" y="315357"/>
            <a:ext cx="9144000" cy="68892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rgbClr val="00B0F0"/>
                </a:solidFill>
                <a:latin typeface="Segoe UI Light" panose="020B0502040204020203" pitchFamily="34" charset="0"/>
                <a:ea typeface="+mj-ea"/>
                <a:cs typeface="Segoe UI Light" panose="020B0502040204020203" pitchFamily="34" charset="0"/>
              </a:defRPr>
            </a:lvl1pPr>
          </a:lstStyle>
          <a:p>
            <a:pPr algn="l"/>
            <a:r>
              <a:rPr lang="de-DE" sz="3600" dirty="0"/>
              <a:t>Verlagerung </a:t>
            </a:r>
            <a:r>
              <a:rPr lang="de-DE" sz="3600"/>
              <a:t>der Monitoring-Anforderungen</a:t>
            </a:r>
            <a:endParaRPr lang="de-DE" sz="3600" dirty="0"/>
          </a:p>
        </p:txBody>
      </p:sp>
    </p:spTree>
    <p:extLst>
      <p:ext uri="{BB962C8B-B14F-4D97-AF65-F5344CB8AC3E}">
        <p14:creationId xmlns:p14="http://schemas.microsoft.com/office/powerpoint/2010/main" val="23219496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7451" y="5996416"/>
            <a:ext cx="1756524" cy="1171015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9505" y="6223347"/>
            <a:ext cx="1400751" cy="700376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994" y="6444768"/>
            <a:ext cx="1097238" cy="274310"/>
          </a:xfrm>
          <a:prstGeom prst="rect">
            <a:avLst/>
          </a:prstGeom>
        </p:spPr>
      </p:pic>
      <p:pic>
        <p:nvPicPr>
          <p:cNvPr id="13" name="Grafik 12" descr="Ein Bild, das Objekt enthält.&#10;&#10;Mit hoher Zuverlässigkeit generierte Beschreibung">
            <a:extLst>
              <a:ext uri="{FF2B5EF4-FFF2-40B4-BE49-F238E27FC236}">
                <a16:creationId xmlns:a16="http://schemas.microsoft.com/office/drawing/2014/main" id="{E5AA72CE-8D17-4FBE-B09F-3FB0C215A16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9094" y="6318652"/>
            <a:ext cx="1049094" cy="431555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36FF77F4-36EF-4017-AB71-867871747EB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7675" y="6343150"/>
            <a:ext cx="2116822" cy="527882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E896EA5B-18A3-4F5A-8BF9-BF78D41D1208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048" y="315357"/>
            <a:ext cx="2223164" cy="779950"/>
          </a:xfrm>
          <a:prstGeom prst="rect">
            <a:avLst/>
          </a:prstGeom>
        </p:spPr>
      </p:pic>
      <p:pic>
        <p:nvPicPr>
          <p:cNvPr id="12" name="Picture 5">
            <a:extLst>
              <a:ext uri="{FF2B5EF4-FFF2-40B4-BE49-F238E27FC236}">
                <a16:creationId xmlns:a16="http://schemas.microsoft.com/office/drawing/2014/main" id="{E4B436B6-4E88-45A1-90CE-3BC0F8871F0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782112" y="993681"/>
            <a:ext cx="6286502" cy="518568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4" name="Titel 1">
            <a:extLst>
              <a:ext uri="{FF2B5EF4-FFF2-40B4-BE49-F238E27FC236}">
                <a16:creationId xmlns:a16="http://schemas.microsoft.com/office/drawing/2014/main" id="{459C9037-D9DA-4967-97CD-4F0E0FABC3E7}"/>
              </a:ext>
            </a:extLst>
          </p:cNvPr>
          <p:cNvSpPr txBox="1">
            <a:spLocks/>
          </p:cNvSpPr>
          <p:nvPr/>
        </p:nvSpPr>
        <p:spPr>
          <a:xfrm>
            <a:off x="2698506" y="315357"/>
            <a:ext cx="9144000" cy="68892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rgbClr val="00B0F0"/>
                </a:solidFill>
                <a:latin typeface="Segoe UI Light" panose="020B0502040204020203" pitchFamily="34" charset="0"/>
                <a:ea typeface="+mj-ea"/>
                <a:cs typeface="Segoe UI Light" panose="020B0502040204020203" pitchFamily="34" charset="0"/>
              </a:defRPr>
            </a:lvl1pPr>
          </a:lstStyle>
          <a:p>
            <a:pPr algn="l"/>
            <a:r>
              <a:rPr lang="de-DE" sz="3600" i="1" dirty="0"/>
              <a:t>Komplexität</a:t>
            </a:r>
            <a:r>
              <a:rPr lang="de-DE" sz="3600" dirty="0"/>
              <a:t> der Cloud-Welt</a:t>
            </a:r>
          </a:p>
        </p:txBody>
      </p:sp>
    </p:spTree>
    <p:extLst>
      <p:ext uri="{BB962C8B-B14F-4D97-AF65-F5344CB8AC3E}">
        <p14:creationId xmlns:p14="http://schemas.microsoft.com/office/powerpoint/2010/main" val="321684956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7451" y="5996416"/>
            <a:ext cx="1756524" cy="1171015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9505" y="6223347"/>
            <a:ext cx="1400751" cy="700376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994" y="6444768"/>
            <a:ext cx="1097238" cy="27431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2698506" y="315357"/>
            <a:ext cx="9144000" cy="688925"/>
          </a:xfrm>
        </p:spPr>
        <p:txBody>
          <a:bodyPr>
            <a:normAutofit/>
          </a:bodyPr>
          <a:lstStyle/>
          <a:p>
            <a:pPr algn="l"/>
            <a:r>
              <a:rPr lang="de-DE" sz="3600" dirty="0"/>
              <a:t>Herausforderungen in der Cloud-Welt</a:t>
            </a:r>
          </a:p>
        </p:txBody>
      </p:sp>
      <p:pic>
        <p:nvPicPr>
          <p:cNvPr id="13" name="Grafik 12" descr="Ein Bild, das Objekt enthält.&#10;&#10;Mit hoher Zuverlässigkeit generierte Beschreibung">
            <a:extLst>
              <a:ext uri="{FF2B5EF4-FFF2-40B4-BE49-F238E27FC236}">
                <a16:creationId xmlns:a16="http://schemas.microsoft.com/office/drawing/2014/main" id="{E5AA72CE-8D17-4FBE-B09F-3FB0C215A16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9094" y="6318652"/>
            <a:ext cx="1049094" cy="431555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36FF77F4-36EF-4017-AB71-867871747EB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7675" y="6343150"/>
            <a:ext cx="2116822" cy="527882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E896EA5B-18A3-4F5A-8BF9-BF78D41D1208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048" y="315357"/>
            <a:ext cx="2223164" cy="779950"/>
          </a:xfrm>
          <a:prstGeom prst="rect">
            <a:avLst/>
          </a:prstGeom>
        </p:spPr>
      </p:pic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5A1E4624-4736-4F0E-B620-7F11E8F3BADB}"/>
              </a:ext>
            </a:extLst>
          </p:cNvPr>
          <p:cNvGrpSpPr/>
          <p:nvPr/>
        </p:nvGrpSpPr>
        <p:grpSpPr>
          <a:xfrm>
            <a:off x="1477584" y="2632660"/>
            <a:ext cx="9333565" cy="731520"/>
            <a:chOff x="1477584" y="2632660"/>
            <a:chExt cx="9333565" cy="731520"/>
          </a:xfrm>
        </p:grpSpPr>
        <p:sp>
          <p:nvSpPr>
            <p:cNvPr id="12" name="Oval 14">
              <a:extLst>
                <a:ext uri="{FF2B5EF4-FFF2-40B4-BE49-F238E27FC236}">
                  <a16:creationId xmlns:a16="http://schemas.microsoft.com/office/drawing/2014/main" id="{0A3D94C1-1A88-40EC-BE50-C1CE82B134C3}"/>
                </a:ext>
              </a:extLst>
            </p:cNvPr>
            <p:cNvSpPr/>
            <p:nvPr/>
          </p:nvSpPr>
          <p:spPr>
            <a:xfrm>
              <a:off x="1477584" y="2632660"/>
              <a:ext cx="731520" cy="731520"/>
            </a:xfrm>
            <a:prstGeom prst="ellipse">
              <a:avLst/>
            </a:prstGeom>
            <a:solidFill>
              <a:srgbClr val="53C2E5"/>
            </a:solidFill>
            <a:ln w="12700" cap="flat">
              <a:noFill/>
              <a:miter lim="400000"/>
            </a:ln>
            <a:effectLst>
              <a:outerShdw blurRad="38100" dist="25400" dir="5400000" rotWithShape="0">
                <a:srgbClr val="000000">
                  <a:alpha val="50000"/>
                </a:srgb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5400" tIns="25400" rIns="25400" bIns="25400" numCol="1" spcCol="38100" rtlCol="0" anchor="ctr">
              <a:spAutoFit/>
            </a:bodyPr>
            <a:lstStyle/>
            <a:p>
              <a:pPr algn="ctr" defTabSz="412750" hangingPunct="0"/>
              <a:endParaRPr lang="en-US" sz="1600" dirty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endParaRPr>
            </a:p>
          </p:txBody>
        </p:sp>
        <p:sp>
          <p:nvSpPr>
            <p:cNvPr id="16" name="Shape">
              <a:extLst>
                <a:ext uri="{FF2B5EF4-FFF2-40B4-BE49-F238E27FC236}">
                  <a16:creationId xmlns:a16="http://schemas.microsoft.com/office/drawing/2014/main" id="{E65B42D3-348D-40AF-82E6-A5A6B637EAD9}"/>
                </a:ext>
              </a:extLst>
            </p:cNvPr>
            <p:cNvSpPr/>
            <p:nvPr/>
          </p:nvSpPr>
          <p:spPr>
            <a:xfrm>
              <a:off x="1616462" y="2801293"/>
              <a:ext cx="493358" cy="39883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0" y="18345"/>
                  </a:lnTo>
                  <a:lnTo>
                    <a:pt x="8827" y="18345"/>
                  </a:lnTo>
                  <a:lnTo>
                    <a:pt x="8827" y="16688"/>
                  </a:lnTo>
                  <a:lnTo>
                    <a:pt x="1340" y="16688"/>
                  </a:lnTo>
                  <a:lnTo>
                    <a:pt x="1340" y="1687"/>
                  </a:lnTo>
                  <a:lnTo>
                    <a:pt x="20260" y="1687"/>
                  </a:lnTo>
                  <a:lnTo>
                    <a:pt x="20260" y="16688"/>
                  </a:lnTo>
                  <a:lnTo>
                    <a:pt x="12821" y="16688"/>
                  </a:lnTo>
                  <a:lnTo>
                    <a:pt x="12821" y="18345"/>
                  </a:lnTo>
                  <a:lnTo>
                    <a:pt x="21600" y="18345"/>
                  </a:lnTo>
                  <a:lnTo>
                    <a:pt x="21600" y="0"/>
                  </a:lnTo>
                  <a:lnTo>
                    <a:pt x="0" y="0"/>
                  </a:lnTo>
                  <a:close/>
                  <a:moveTo>
                    <a:pt x="2631" y="3403"/>
                  </a:moveTo>
                  <a:lnTo>
                    <a:pt x="2631" y="15120"/>
                  </a:lnTo>
                  <a:lnTo>
                    <a:pt x="18849" y="15120"/>
                  </a:lnTo>
                  <a:lnTo>
                    <a:pt x="18849" y="3403"/>
                  </a:lnTo>
                  <a:lnTo>
                    <a:pt x="2631" y="3403"/>
                  </a:lnTo>
                  <a:close/>
                  <a:moveTo>
                    <a:pt x="3995" y="5060"/>
                  </a:moveTo>
                  <a:lnTo>
                    <a:pt x="17510" y="5060"/>
                  </a:lnTo>
                  <a:lnTo>
                    <a:pt x="17510" y="13433"/>
                  </a:lnTo>
                  <a:lnTo>
                    <a:pt x="3995" y="13433"/>
                  </a:lnTo>
                  <a:lnTo>
                    <a:pt x="3995" y="5060"/>
                  </a:lnTo>
                  <a:close/>
                  <a:moveTo>
                    <a:pt x="10070" y="16688"/>
                  </a:moveTo>
                  <a:lnTo>
                    <a:pt x="10070" y="18345"/>
                  </a:lnTo>
                  <a:lnTo>
                    <a:pt x="10740" y="18345"/>
                  </a:lnTo>
                  <a:lnTo>
                    <a:pt x="11410" y="18345"/>
                  </a:lnTo>
                  <a:lnTo>
                    <a:pt x="11410" y="16688"/>
                  </a:lnTo>
                  <a:lnTo>
                    <a:pt x="10070" y="16688"/>
                  </a:lnTo>
                  <a:close/>
                  <a:moveTo>
                    <a:pt x="6746" y="19943"/>
                  </a:moveTo>
                  <a:lnTo>
                    <a:pt x="6746" y="21600"/>
                  </a:lnTo>
                  <a:lnTo>
                    <a:pt x="10884" y="21600"/>
                  </a:lnTo>
                  <a:lnTo>
                    <a:pt x="14998" y="21600"/>
                  </a:lnTo>
                  <a:lnTo>
                    <a:pt x="14998" y="19943"/>
                  </a:lnTo>
                  <a:lnTo>
                    <a:pt x="6746" y="19943"/>
                  </a:lnTo>
                  <a:close/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22860" rIns="22860" anchor="ctr"/>
            <a:lstStyle/>
            <a:p>
              <a:pPr defTabSz="228600">
                <a:lnSpc>
                  <a:spcPct val="93000"/>
                </a:lnSpc>
                <a:defRPr sz="1800">
                  <a:latin typeface="Open Sans"/>
                  <a:ea typeface="Open Sans"/>
                  <a:cs typeface="Open Sans"/>
                  <a:sym typeface="Open Sans"/>
                </a:defRPr>
              </a:pPr>
              <a:endParaRPr sz="900" dirty="0"/>
            </a:p>
          </p:txBody>
        </p:sp>
        <p:sp>
          <p:nvSpPr>
            <p:cNvPr id="18" name="TextBox 23">
              <a:extLst>
                <a:ext uri="{FF2B5EF4-FFF2-40B4-BE49-F238E27FC236}">
                  <a16:creationId xmlns:a16="http://schemas.microsoft.com/office/drawing/2014/main" id="{DF24A1D5-6582-4E8B-838F-3940AC184B8F}"/>
                </a:ext>
              </a:extLst>
            </p:cNvPr>
            <p:cNvSpPr txBox="1"/>
            <p:nvPr/>
          </p:nvSpPr>
          <p:spPr>
            <a:xfrm>
              <a:off x="2581549" y="2711476"/>
              <a:ext cx="8229600" cy="584775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r>
                <a:rPr lang="de-DE" sz="3200" b="1" dirty="0">
                  <a:solidFill>
                    <a:srgbClr val="53C2E5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Weniger Sichtbarkeit und Kontrolle</a:t>
              </a:r>
              <a:endParaRPr lang="de-DE" sz="3200" dirty="0">
                <a:solidFill>
                  <a:srgbClr val="53C2E5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65951CDD-D78F-4E23-BF6D-2B2D6B2241CB}"/>
              </a:ext>
            </a:extLst>
          </p:cNvPr>
          <p:cNvGrpSpPr/>
          <p:nvPr/>
        </p:nvGrpSpPr>
        <p:grpSpPr>
          <a:xfrm>
            <a:off x="1477584" y="3875744"/>
            <a:ext cx="9236831" cy="731520"/>
            <a:chOff x="1477584" y="3875744"/>
            <a:chExt cx="9236831" cy="731520"/>
          </a:xfrm>
        </p:grpSpPr>
        <p:sp>
          <p:nvSpPr>
            <p:cNvPr id="11" name="Oval 13">
              <a:extLst>
                <a:ext uri="{FF2B5EF4-FFF2-40B4-BE49-F238E27FC236}">
                  <a16:creationId xmlns:a16="http://schemas.microsoft.com/office/drawing/2014/main" id="{C9BA62DD-0CA9-417A-8980-E34D869CDF30}"/>
                </a:ext>
              </a:extLst>
            </p:cNvPr>
            <p:cNvSpPr/>
            <p:nvPr/>
          </p:nvSpPr>
          <p:spPr>
            <a:xfrm>
              <a:off x="1477584" y="3875744"/>
              <a:ext cx="731520" cy="731520"/>
            </a:xfrm>
            <a:prstGeom prst="ellipse">
              <a:avLst/>
            </a:prstGeom>
            <a:solidFill>
              <a:srgbClr val="72C8B5"/>
            </a:solidFill>
            <a:ln w="12700" cap="flat">
              <a:solidFill>
                <a:srgbClr val="53C2C4"/>
              </a:solidFill>
              <a:miter lim="400000"/>
            </a:ln>
            <a:effectLst>
              <a:outerShdw blurRad="38100" dist="25400" dir="5400000" rotWithShape="0">
                <a:srgbClr val="000000">
                  <a:alpha val="50000"/>
                </a:srgb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5400" tIns="25400" rIns="25400" bIns="25400" numCol="1" spcCol="38100" rtlCol="0" anchor="ctr">
              <a:spAutoFit/>
            </a:bodyPr>
            <a:lstStyle/>
            <a:p>
              <a:pPr algn="ctr" defTabSz="412750" hangingPunct="0"/>
              <a:endParaRPr lang="en-US" sz="1600" dirty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endParaRPr>
            </a:p>
          </p:txBody>
        </p:sp>
        <p:sp>
          <p:nvSpPr>
            <p:cNvPr id="19" name="TextBox 24">
              <a:extLst>
                <a:ext uri="{FF2B5EF4-FFF2-40B4-BE49-F238E27FC236}">
                  <a16:creationId xmlns:a16="http://schemas.microsoft.com/office/drawing/2014/main" id="{963B3076-3364-4A9E-862B-BF9A87BE588D}"/>
                </a:ext>
              </a:extLst>
            </p:cNvPr>
            <p:cNvSpPr txBox="1"/>
            <p:nvPr/>
          </p:nvSpPr>
          <p:spPr>
            <a:xfrm>
              <a:off x="2581548" y="3949116"/>
              <a:ext cx="8132867" cy="584775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r>
                <a:rPr lang="de-DE" sz="3200" b="1" dirty="0">
                  <a:solidFill>
                    <a:srgbClr val="72C8B5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Benutzererfahrung und Erwartungshaltung</a:t>
              </a:r>
              <a:endParaRPr lang="de-DE" sz="32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0" name="Shape">
              <a:extLst>
                <a:ext uri="{FF2B5EF4-FFF2-40B4-BE49-F238E27FC236}">
                  <a16:creationId xmlns:a16="http://schemas.microsoft.com/office/drawing/2014/main" id="{E4329D53-EE88-4545-A97C-A616A885D706}"/>
                </a:ext>
              </a:extLst>
            </p:cNvPr>
            <p:cNvSpPr/>
            <p:nvPr/>
          </p:nvSpPr>
          <p:spPr>
            <a:xfrm>
              <a:off x="1717724" y="4060516"/>
              <a:ext cx="274320" cy="3657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80" h="21600" extrusionOk="0">
                  <a:moveTo>
                    <a:pt x="9856" y="0"/>
                  </a:moveTo>
                  <a:cubicBezTo>
                    <a:pt x="7173" y="0"/>
                    <a:pt x="4736" y="811"/>
                    <a:pt x="2879" y="2251"/>
                  </a:cubicBezTo>
                  <a:cubicBezTo>
                    <a:pt x="-960" y="5162"/>
                    <a:pt x="-960" y="9933"/>
                    <a:pt x="2879" y="12907"/>
                  </a:cubicBezTo>
                  <a:lnTo>
                    <a:pt x="4110" y="11973"/>
                  </a:lnTo>
                  <a:cubicBezTo>
                    <a:pt x="1014" y="9532"/>
                    <a:pt x="1014" y="5627"/>
                    <a:pt x="4110" y="3185"/>
                  </a:cubicBezTo>
                  <a:cubicBezTo>
                    <a:pt x="5637" y="2027"/>
                    <a:pt x="7709" y="1365"/>
                    <a:pt x="9856" y="1365"/>
                  </a:cubicBezTo>
                  <a:cubicBezTo>
                    <a:pt x="12002" y="1365"/>
                    <a:pt x="14011" y="2027"/>
                    <a:pt x="15538" y="3185"/>
                  </a:cubicBezTo>
                  <a:cubicBezTo>
                    <a:pt x="18675" y="5627"/>
                    <a:pt x="18675" y="9532"/>
                    <a:pt x="15538" y="11973"/>
                  </a:cubicBezTo>
                  <a:lnTo>
                    <a:pt x="16801" y="12907"/>
                  </a:lnTo>
                  <a:cubicBezTo>
                    <a:pt x="20640" y="9996"/>
                    <a:pt x="20640" y="5225"/>
                    <a:pt x="16801" y="2251"/>
                  </a:cubicBezTo>
                  <a:cubicBezTo>
                    <a:pt x="14943" y="811"/>
                    <a:pt x="12415" y="0"/>
                    <a:pt x="9856" y="0"/>
                  </a:cubicBezTo>
                  <a:close/>
                  <a:moveTo>
                    <a:pt x="9856" y="3424"/>
                  </a:moveTo>
                  <a:cubicBezTo>
                    <a:pt x="6927" y="3424"/>
                    <a:pt x="4489" y="5219"/>
                    <a:pt x="4489" y="7471"/>
                  </a:cubicBezTo>
                  <a:cubicBezTo>
                    <a:pt x="4489" y="9693"/>
                    <a:pt x="6886" y="11542"/>
                    <a:pt x="9856" y="11542"/>
                  </a:cubicBezTo>
                  <a:cubicBezTo>
                    <a:pt x="12784" y="11542"/>
                    <a:pt x="15159" y="9693"/>
                    <a:pt x="15159" y="7471"/>
                  </a:cubicBezTo>
                  <a:cubicBezTo>
                    <a:pt x="15160" y="5219"/>
                    <a:pt x="12826" y="3424"/>
                    <a:pt x="9856" y="3424"/>
                  </a:cubicBezTo>
                  <a:close/>
                  <a:moveTo>
                    <a:pt x="9856" y="4789"/>
                  </a:moveTo>
                  <a:cubicBezTo>
                    <a:pt x="11794" y="4789"/>
                    <a:pt x="13392" y="5970"/>
                    <a:pt x="13392" y="7471"/>
                  </a:cubicBezTo>
                  <a:cubicBezTo>
                    <a:pt x="13392" y="8942"/>
                    <a:pt x="11836" y="10201"/>
                    <a:pt x="9856" y="10201"/>
                  </a:cubicBezTo>
                  <a:cubicBezTo>
                    <a:pt x="7917" y="10201"/>
                    <a:pt x="6257" y="8942"/>
                    <a:pt x="6257" y="7471"/>
                  </a:cubicBezTo>
                  <a:cubicBezTo>
                    <a:pt x="6257" y="5970"/>
                    <a:pt x="7876" y="4789"/>
                    <a:pt x="9856" y="4789"/>
                  </a:cubicBezTo>
                  <a:close/>
                  <a:moveTo>
                    <a:pt x="6099" y="14608"/>
                  </a:moveTo>
                  <a:lnTo>
                    <a:pt x="4678" y="15278"/>
                  </a:lnTo>
                  <a:lnTo>
                    <a:pt x="9856" y="21600"/>
                  </a:lnTo>
                  <a:lnTo>
                    <a:pt x="15002" y="15278"/>
                  </a:lnTo>
                  <a:lnTo>
                    <a:pt x="13581" y="14608"/>
                  </a:lnTo>
                  <a:lnTo>
                    <a:pt x="9856" y="19062"/>
                  </a:lnTo>
                  <a:lnTo>
                    <a:pt x="6099" y="14608"/>
                  </a:lnTo>
                  <a:close/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45719" rIns="45719" anchor="ctr"/>
            <a:lstStyle>
              <a:defPPr marL="0" marR="0" indent="0" algn="l" defTabSz="9144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</a:defRPr>
              </a:defPPr>
              <a:lvl1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1pPr>
              <a:lvl2pPr marL="0" marR="0" indent="2286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2pPr>
              <a:lvl3pPr marL="0" marR="0" indent="4572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3pPr>
              <a:lvl4pPr marL="0" marR="0" indent="6858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4pPr>
              <a:lvl5pPr marL="0" marR="0" indent="9144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5pPr>
              <a:lvl6pPr marL="0" marR="0" indent="11430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6pPr>
              <a:lvl7pPr marL="0" marR="0" indent="13716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7pPr>
              <a:lvl8pPr marL="0" marR="0" indent="16002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8pPr>
              <a:lvl9pPr marL="0" marR="0" indent="18288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9pPr>
            </a:lstStyle>
            <a:p>
              <a:pPr algn="l" defTabSz="457200">
                <a:lnSpc>
                  <a:spcPct val="93000"/>
                </a:lnSpc>
                <a:defRPr sz="1800">
                  <a:latin typeface="Open Sans"/>
                  <a:ea typeface="Open Sans"/>
                  <a:cs typeface="Open Sans"/>
                  <a:sym typeface="Open Sans"/>
                </a:defRPr>
              </a:pPr>
              <a:endParaRPr dirty="0"/>
            </a:p>
          </p:txBody>
        </p:sp>
      </p:grp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E2C84333-7398-41EB-838F-6CAE8ABE44BF}"/>
              </a:ext>
            </a:extLst>
          </p:cNvPr>
          <p:cNvGrpSpPr/>
          <p:nvPr/>
        </p:nvGrpSpPr>
        <p:grpSpPr>
          <a:xfrm>
            <a:off x="1477584" y="1398746"/>
            <a:ext cx="9333565" cy="731520"/>
            <a:chOff x="1477584" y="1398746"/>
            <a:chExt cx="9333565" cy="731520"/>
          </a:xfrm>
        </p:grpSpPr>
        <p:sp>
          <p:nvSpPr>
            <p:cNvPr id="14" name="Oval 15">
              <a:extLst>
                <a:ext uri="{FF2B5EF4-FFF2-40B4-BE49-F238E27FC236}">
                  <a16:creationId xmlns:a16="http://schemas.microsoft.com/office/drawing/2014/main" id="{6A1FD102-9F44-4E54-8F34-3FD529700554}"/>
                </a:ext>
              </a:extLst>
            </p:cNvPr>
            <p:cNvSpPr/>
            <p:nvPr/>
          </p:nvSpPr>
          <p:spPr>
            <a:xfrm>
              <a:off x="1477584" y="1398746"/>
              <a:ext cx="731520" cy="731520"/>
            </a:xfrm>
            <a:prstGeom prst="ellipse">
              <a:avLst/>
            </a:prstGeom>
            <a:solidFill>
              <a:srgbClr val="533F6F"/>
            </a:solidFill>
            <a:ln w="12700" cap="flat">
              <a:noFill/>
              <a:miter lim="400000"/>
            </a:ln>
            <a:effectLst>
              <a:outerShdw blurRad="38100" dist="25400" dir="5400000" rotWithShape="0">
                <a:srgbClr val="000000">
                  <a:alpha val="50000"/>
                </a:srgb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5400" tIns="25400" rIns="25400" bIns="25400" numCol="1" spcCol="38100" rtlCol="0" anchor="ctr">
              <a:spAutoFit/>
            </a:bodyPr>
            <a:lstStyle/>
            <a:p>
              <a:pPr algn="ctr" defTabSz="412750" hangingPunct="0"/>
              <a:endParaRPr lang="en-US" sz="1600" dirty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endParaRPr>
            </a:p>
          </p:txBody>
        </p:sp>
        <p:sp>
          <p:nvSpPr>
            <p:cNvPr id="17" name="TextBox 22">
              <a:extLst>
                <a:ext uri="{FF2B5EF4-FFF2-40B4-BE49-F238E27FC236}">
                  <a16:creationId xmlns:a16="http://schemas.microsoft.com/office/drawing/2014/main" id="{A9952AF9-1CCE-4FBA-A972-A36A76DB487B}"/>
                </a:ext>
              </a:extLst>
            </p:cNvPr>
            <p:cNvSpPr txBox="1"/>
            <p:nvPr/>
          </p:nvSpPr>
          <p:spPr>
            <a:xfrm>
              <a:off x="2581549" y="1472118"/>
              <a:ext cx="8229600" cy="584775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r>
                <a:rPr lang="de-DE" sz="3200" b="1" dirty="0">
                  <a:solidFill>
                    <a:srgbClr val="533F6F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Kombinierte Dienste und Produkte</a:t>
              </a:r>
              <a:endParaRPr lang="de-DE" sz="32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1" name="Shape">
              <a:extLst>
                <a:ext uri="{FF2B5EF4-FFF2-40B4-BE49-F238E27FC236}">
                  <a16:creationId xmlns:a16="http://schemas.microsoft.com/office/drawing/2014/main" id="{841B7DC1-3C56-43E9-A877-30A3B834C8A6}"/>
                </a:ext>
              </a:extLst>
            </p:cNvPr>
            <p:cNvSpPr/>
            <p:nvPr/>
          </p:nvSpPr>
          <p:spPr>
            <a:xfrm>
              <a:off x="1640667" y="1591871"/>
              <a:ext cx="351377" cy="3513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665" y="21600"/>
                  </a:moveTo>
                  <a:lnTo>
                    <a:pt x="8812" y="16319"/>
                  </a:lnTo>
                  <a:lnTo>
                    <a:pt x="8812" y="18037"/>
                  </a:lnTo>
                  <a:lnTo>
                    <a:pt x="9034" y="17814"/>
                  </a:lnTo>
                  <a:lnTo>
                    <a:pt x="9989" y="18864"/>
                  </a:lnTo>
                  <a:lnTo>
                    <a:pt x="7444" y="21346"/>
                  </a:lnTo>
                  <a:lnTo>
                    <a:pt x="7444" y="13202"/>
                  </a:lnTo>
                  <a:lnTo>
                    <a:pt x="13965" y="19119"/>
                  </a:lnTo>
                  <a:lnTo>
                    <a:pt x="19405" y="2195"/>
                  </a:lnTo>
                  <a:lnTo>
                    <a:pt x="2481" y="8271"/>
                  </a:lnTo>
                  <a:lnTo>
                    <a:pt x="6140" y="11770"/>
                  </a:lnTo>
                  <a:lnTo>
                    <a:pt x="13138" y="6458"/>
                  </a:lnTo>
                  <a:lnTo>
                    <a:pt x="13965" y="7571"/>
                  </a:lnTo>
                  <a:lnTo>
                    <a:pt x="6076" y="13615"/>
                  </a:lnTo>
                  <a:lnTo>
                    <a:pt x="0" y="7698"/>
                  </a:lnTo>
                  <a:lnTo>
                    <a:pt x="21600" y="0"/>
                  </a:lnTo>
                  <a:lnTo>
                    <a:pt x="14665" y="21600"/>
                  </a:lnTo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45719" rIns="45719" anchor="ctr"/>
            <a:lstStyle>
              <a:defPPr marL="0" marR="0" indent="0" algn="l" defTabSz="9144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</a:defRPr>
              </a:defPPr>
              <a:lvl1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1pPr>
              <a:lvl2pPr marL="0" marR="0" indent="2286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2pPr>
              <a:lvl3pPr marL="0" marR="0" indent="4572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3pPr>
              <a:lvl4pPr marL="0" marR="0" indent="6858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4pPr>
              <a:lvl5pPr marL="0" marR="0" indent="9144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5pPr>
              <a:lvl6pPr marL="0" marR="0" indent="11430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6pPr>
              <a:lvl7pPr marL="0" marR="0" indent="13716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7pPr>
              <a:lvl8pPr marL="0" marR="0" indent="16002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8pPr>
              <a:lvl9pPr marL="0" marR="0" indent="18288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9pPr>
            </a:lstStyle>
            <a:p>
              <a:pPr algn="l" defTabSz="457200">
                <a:lnSpc>
                  <a:spcPct val="93000"/>
                </a:lnSpc>
                <a:defRPr sz="1800">
                  <a:latin typeface="Open Sans"/>
                  <a:ea typeface="Open Sans"/>
                  <a:cs typeface="Open Sans"/>
                  <a:sym typeface="Open Sans"/>
                </a:defRPr>
              </a:pPr>
              <a:endParaRPr dirty="0"/>
            </a:p>
          </p:txBody>
        </p:sp>
      </p:grp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B6F2E0E3-1DDF-4115-89AF-54FC65A8B2AC}"/>
              </a:ext>
            </a:extLst>
          </p:cNvPr>
          <p:cNvGrpSpPr/>
          <p:nvPr/>
        </p:nvGrpSpPr>
        <p:grpSpPr>
          <a:xfrm>
            <a:off x="1477584" y="5113384"/>
            <a:ext cx="9333565" cy="731520"/>
            <a:chOff x="1477584" y="5113384"/>
            <a:chExt cx="9333565" cy="731520"/>
          </a:xfrm>
        </p:grpSpPr>
        <p:sp>
          <p:nvSpPr>
            <p:cNvPr id="22" name="Oval 17">
              <a:extLst>
                <a:ext uri="{FF2B5EF4-FFF2-40B4-BE49-F238E27FC236}">
                  <a16:creationId xmlns:a16="http://schemas.microsoft.com/office/drawing/2014/main" id="{491B2AFE-8721-498A-890E-7A1C41FB056B}"/>
                </a:ext>
              </a:extLst>
            </p:cNvPr>
            <p:cNvSpPr/>
            <p:nvPr/>
          </p:nvSpPr>
          <p:spPr>
            <a:xfrm>
              <a:off x="1477584" y="5113384"/>
              <a:ext cx="731520" cy="731520"/>
            </a:xfrm>
            <a:prstGeom prst="ellipse">
              <a:avLst/>
            </a:prstGeom>
            <a:solidFill>
              <a:srgbClr val="533F6F"/>
            </a:solidFill>
            <a:ln w="12700" cap="flat">
              <a:noFill/>
              <a:miter lim="400000"/>
            </a:ln>
            <a:effectLst>
              <a:outerShdw blurRad="38100" dist="25400" dir="5400000" rotWithShape="0">
                <a:srgbClr val="000000">
                  <a:alpha val="50000"/>
                </a:srgb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5400" tIns="25400" rIns="25400" bIns="25400" numCol="1" spcCol="38100" rtlCol="0" anchor="ctr">
              <a:spAutoFit/>
            </a:bodyPr>
            <a:lstStyle/>
            <a:p>
              <a:pPr algn="ctr" defTabSz="412750" hangingPunct="0"/>
              <a:endParaRPr lang="en-US" sz="1600" dirty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endParaRPr>
            </a:p>
          </p:txBody>
        </p:sp>
        <p:sp>
          <p:nvSpPr>
            <p:cNvPr id="23" name="Shape">
              <a:extLst>
                <a:ext uri="{FF2B5EF4-FFF2-40B4-BE49-F238E27FC236}">
                  <a16:creationId xmlns:a16="http://schemas.microsoft.com/office/drawing/2014/main" id="{2AD1F71E-B3D0-4382-8F10-868A90C18D7F}"/>
                </a:ext>
              </a:extLst>
            </p:cNvPr>
            <p:cNvSpPr/>
            <p:nvPr/>
          </p:nvSpPr>
          <p:spPr>
            <a:xfrm>
              <a:off x="1640667" y="5306509"/>
              <a:ext cx="351377" cy="3513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665" y="21600"/>
                  </a:moveTo>
                  <a:lnTo>
                    <a:pt x="8812" y="16319"/>
                  </a:lnTo>
                  <a:lnTo>
                    <a:pt x="8812" y="18037"/>
                  </a:lnTo>
                  <a:lnTo>
                    <a:pt x="9034" y="17814"/>
                  </a:lnTo>
                  <a:lnTo>
                    <a:pt x="9989" y="18864"/>
                  </a:lnTo>
                  <a:lnTo>
                    <a:pt x="7444" y="21346"/>
                  </a:lnTo>
                  <a:lnTo>
                    <a:pt x="7444" y="13202"/>
                  </a:lnTo>
                  <a:lnTo>
                    <a:pt x="13965" y="19119"/>
                  </a:lnTo>
                  <a:lnTo>
                    <a:pt x="19405" y="2195"/>
                  </a:lnTo>
                  <a:lnTo>
                    <a:pt x="2481" y="8271"/>
                  </a:lnTo>
                  <a:lnTo>
                    <a:pt x="6140" y="11770"/>
                  </a:lnTo>
                  <a:lnTo>
                    <a:pt x="13138" y="6458"/>
                  </a:lnTo>
                  <a:lnTo>
                    <a:pt x="13965" y="7571"/>
                  </a:lnTo>
                  <a:lnTo>
                    <a:pt x="6076" y="13615"/>
                  </a:lnTo>
                  <a:lnTo>
                    <a:pt x="0" y="7698"/>
                  </a:lnTo>
                  <a:lnTo>
                    <a:pt x="21600" y="0"/>
                  </a:lnTo>
                  <a:lnTo>
                    <a:pt x="14665" y="21600"/>
                  </a:lnTo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45719" rIns="45719" anchor="ctr"/>
            <a:lstStyle>
              <a:defPPr marL="0" marR="0" indent="0" algn="l" defTabSz="9144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</a:defRPr>
              </a:defPPr>
              <a:lvl1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1pPr>
              <a:lvl2pPr marL="0" marR="0" indent="2286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2pPr>
              <a:lvl3pPr marL="0" marR="0" indent="4572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3pPr>
              <a:lvl4pPr marL="0" marR="0" indent="6858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4pPr>
              <a:lvl5pPr marL="0" marR="0" indent="9144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5pPr>
              <a:lvl6pPr marL="0" marR="0" indent="11430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6pPr>
              <a:lvl7pPr marL="0" marR="0" indent="13716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7pPr>
              <a:lvl8pPr marL="0" marR="0" indent="16002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8pPr>
              <a:lvl9pPr marL="0" marR="0" indent="18288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9pPr>
            </a:lstStyle>
            <a:p>
              <a:pPr algn="l" defTabSz="457200">
                <a:lnSpc>
                  <a:spcPct val="93000"/>
                </a:lnSpc>
                <a:defRPr sz="1800">
                  <a:latin typeface="Open Sans"/>
                  <a:ea typeface="Open Sans"/>
                  <a:cs typeface="Open Sans"/>
                  <a:sym typeface="Open Sans"/>
                </a:defRPr>
              </a:pPr>
              <a:endParaRPr dirty="0"/>
            </a:p>
          </p:txBody>
        </p:sp>
        <p:sp>
          <p:nvSpPr>
            <p:cNvPr id="24" name="TextBox 19">
              <a:extLst>
                <a:ext uri="{FF2B5EF4-FFF2-40B4-BE49-F238E27FC236}">
                  <a16:creationId xmlns:a16="http://schemas.microsoft.com/office/drawing/2014/main" id="{ECFE8390-2E08-43FF-A61F-93401908AED6}"/>
                </a:ext>
              </a:extLst>
            </p:cNvPr>
            <p:cNvSpPr txBox="1"/>
            <p:nvPr/>
          </p:nvSpPr>
          <p:spPr>
            <a:xfrm>
              <a:off x="2581548" y="5186756"/>
              <a:ext cx="8229601" cy="584775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r>
                <a:rPr lang="de-DE" sz="3200" b="1" dirty="0">
                  <a:solidFill>
                    <a:srgbClr val="533F6F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Dienstausfälle</a:t>
              </a:r>
              <a:endParaRPr lang="de-DE" sz="32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2521973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7451" y="5996416"/>
            <a:ext cx="1756524" cy="1171015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9505" y="6223347"/>
            <a:ext cx="1400751" cy="700376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994" y="6444768"/>
            <a:ext cx="1097238" cy="27431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29859" y="1218723"/>
            <a:ext cx="9144000" cy="688925"/>
          </a:xfrm>
        </p:spPr>
        <p:txBody>
          <a:bodyPr>
            <a:normAutofit/>
          </a:bodyPr>
          <a:lstStyle/>
          <a:p>
            <a:pPr algn="l"/>
            <a:r>
              <a:rPr lang="de-DE" sz="3600" dirty="0"/>
              <a:t>Was bietet uns Microsoft? </a:t>
            </a:r>
          </a:p>
        </p:txBody>
      </p:sp>
      <p:pic>
        <p:nvPicPr>
          <p:cNvPr id="13" name="Grafik 12" descr="Ein Bild, das Objekt enthält.&#10;&#10;Mit hoher Zuverlässigkeit generierte Beschreibung">
            <a:extLst>
              <a:ext uri="{FF2B5EF4-FFF2-40B4-BE49-F238E27FC236}">
                <a16:creationId xmlns:a16="http://schemas.microsoft.com/office/drawing/2014/main" id="{E5AA72CE-8D17-4FBE-B09F-3FB0C215A16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9094" y="6318652"/>
            <a:ext cx="1049094" cy="431555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36FF77F4-36EF-4017-AB71-867871747EB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7675" y="6343150"/>
            <a:ext cx="2116822" cy="527882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A195C9F0-6D6D-40FF-A7A7-FFBE0258047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048" y="315357"/>
            <a:ext cx="2223164" cy="779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328197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7451" y="5996416"/>
            <a:ext cx="1756524" cy="1171015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9505" y="6223347"/>
            <a:ext cx="1400751" cy="700376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994" y="6444768"/>
            <a:ext cx="1097238" cy="274310"/>
          </a:xfrm>
          <a:prstGeom prst="rect">
            <a:avLst/>
          </a:prstGeom>
        </p:spPr>
      </p:pic>
      <p:pic>
        <p:nvPicPr>
          <p:cNvPr id="13" name="Grafik 12" descr="Ein Bild, das Objekt enthält.&#10;&#10;Mit hoher Zuverlässigkeit generierte Beschreibung">
            <a:extLst>
              <a:ext uri="{FF2B5EF4-FFF2-40B4-BE49-F238E27FC236}">
                <a16:creationId xmlns:a16="http://schemas.microsoft.com/office/drawing/2014/main" id="{E5AA72CE-8D17-4FBE-B09F-3FB0C215A16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9094" y="6318652"/>
            <a:ext cx="1049094" cy="431555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36FF77F4-36EF-4017-AB71-867871747EB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7675" y="6343150"/>
            <a:ext cx="2116822" cy="527882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6D0B10B2-C374-4192-88DA-CFF82B9A956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048" y="315357"/>
            <a:ext cx="2223164" cy="779950"/>
          </a:xfrm>
          <a:prstGeom prst="rect">
            <a:avLst/>
          </a:prstGeom>
        </p:spPr>
      </p:pic>
      <p:pic>
        <p:nvPicPr>
          <p:cNvPr id="11" name="Picture 7">
            <a:extLst>
              <a:ext uri="{FF2B5EF4-FFF2-40B4-BE49-F238E27FC236}">
                <a16:creationId xmlns:a16="http://schemas.microsoft.com/office/drawing/2014/main" id="{5D20DFC2-CAB0-4DCD-94BD-CBCFB836B235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18547" r="20101" b="18154"/>
          <a:stretch/>
        </p:blipFill>
        <p:spPr>
          <a:xfrm>
            <a:off x="5686565" y="1617390"/>
            <a:ext cx="6204856" cy="403117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4" name="Titel 1">
            <a:extLst>
              <a:ext uri="{FF2B5EF4-FFF2-40B4-BE49-F238E27FC236}">
                <a16:creationId xmlns:a16="http://schemas.microsoft.com/office/drawing/2014/main" id="{F2CD2A51-0F8F-4617-BD22-C4A2B0C6256C}"/>
              </a:ext>
            </a:extLst>
          </p:cNvPr>
          <p:cNvSpPr txBox="1">
            <a:spLocks/>
          </p:cNvSpPr>
          <p:nvPr/>
        </p:nvSpPr>
        <p:spPr>
          <a:xfrm>
            <a:off x="2698506" y="315357"/>
            <a:ext cx="9144000" cy="68892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rgbClr val="00B0F0"/>
                </a:solidFill>
                <a:latin typeface="Segoe UI Light" panose="020B0502040204020203" pitchFamily="34" charset="0"/>
                <a:ea typeface="+mj-ea"/>
                <a:cs typeface="Segoe UI Light" panose="020B0502040204020203" pitchFamily="34" charset="0"/>
              </a:defRPr>
            </a:lvl1pPr>
          </a:lstStyle>
          <a:p>
            <a:pPr algn="l"/>
            <a:r>
              <a:rPr lang="de-DE" sz="3600" dirty="0"/>
              <a:t>Das </a:t>
            </a:r>
            <a:r>
              <a:rPr lang="de-DE" sz="3600" i="1" dirty="0"/>
              <a:t>Service Health Dashboard</a:t>
            </a:r>
            <a:endParaRPr lang="de-DE" sz="3600" dirty="0"/>
          </a:p>
        </p:txBody>
      </p: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5820FD9F-C7E2-49C3-98F8-1F1508B9A608}"/>
              </a:ext>
            </a:extLst>
          </p:cNvPr>
          <p:cNvGrpSpPr/>
          <p:nvPr/>
        </p:nvGrpSpPr>
        <p:grpSpPr>
          <a:xfrm>
            <a:off x="225048" y="3071563"/>
            <a:ext cx="5520731" cy="954107"/>
            <a:chOff x="225048" y="3071563"/>
            <a:chExt cx="5520731" cy="954107"/>
          </a:xfrm>
        </p:grpSpPr>
        <p:sp>
          <p:nvSpPr>
            <p:cNvPr id="17" name="Oval 13">
              <a:extLst>
                <a:ext uri="{FF2B5EF4-FFF2-40B4-BE49-F238E27FC236}">
                  <a16:creationId xmlns:a16="http://schemas.microsoft.com/office/drawing/2014/main" id="{A4D7492F-88E8-4E3E-84CC-9222C6F44A0E}"/>
                </a:ext>
              </a:extLst>
            </p:cNvPr>
            <p:cNvSpPr/>
            <p:nvPr/>
          </p:nvSpPr>
          <p:spPr>
            <a:xfrm>
              <a:off x="225048" y="3175516"/>
              <a:ext cx="731520" cy="731520"/>
            </a:xfrm>
            <a:prstGeom prst="ellipse">
              <a:avLst/>
            </a:prstGeom>
            <a:solidFill>
              <a:srgbClr val="53C2E5"/>
            </a:solidFill>
            <a:ln w="12700" cap="flat">
              <a:noFill/>
              <a:miter lim="400000"/>
            </a:ln>
            <a:effectLst>
              <a:outerShdw blurRad="38100" dist="25400" dir="5400000" rotWithShape="0">
                <a:srgbClr val="000000">
                  <a:alpha val="50000"/>
                </a:srgb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5400" tIns="25400" rIns="25400" bIns="25400" numCol="1" spcCol="38100" rtlCol="0" anchor="ctr">
              <a:spAutoFit/>
            </a:bodyPr>
            <a:lstStyle/>
            <a:p>
              <a:pPr algn="ctr" defTabSz="412750" hangingPunct="0"/>
              <a:endParaRPr lang="en-US" sz="1600" dirty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endParaRPr>
            </a:p>
          </p:txBody>
        </p:sp>
        <p:sp>
          <p:nvSpPr>
            <p:cNvPr id="19" name="Shape">
              <a:extLst>
                <a:ext uri="{FF2B5EF4-FFF2-40B4-BE49-F238E27FC236}">
                  <a16:creationId xmlns:a16="http://schemas.microsoft.com/office/drawing/2014/main" id="{79F400B7-00A6-454B-B2E9-1C3902333CE8}"/>
                </a:ext>
              </a:extLst>
            </p:cNvPr>
            <p:cNvSpPr/>
            <p:nvPr/>
          </p:nvSpPr>
          <p:spPr>
            <a:xfrm>
              <a:off x="363926" y="3344149"/>
              <a:ext cx="493358" cy="39883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0" y="18345"/>
                  </a:lnTo>
                  <a:lnTo>
                    <a:pt x="8827" y="18345"/>
                  </a:lnTo>
                  <a:lnTo>
                    <a:pt x="8827" y="16688"/>
                  </a:lnTo>
                  <a:lnTo>
                    <a:pt x="1340" y="16688"/>
                  </a:lnTo>
                  <a:lnTo>
                    <a:pt x="1340" y="1687"/>
                  </a:lnTo>
                  <a:lnTo>
                    <a:pt x="20260" y="1687"/>
                  </a:lnTo>
                  <a:lnTo>
                    <a:pt x="20260" y="16688"/>
                  </a:lnTo>
                  <a:lnTo>
                    <a:pt x="12821" y="16688"/>
                  </a:lnTo>
                  <a:lnTo>
                    <a:pt x="12821" y="18345"/>
                  </a:lnTo>
                  <a:lnTo>
                    <a:pt x="21600" y="18345"/>
                  </a:lnTo>
                  <a:lnTo>
                    <a:pt x="21600" y="0"/>
                  </a:lnTo>
                  <a:lnTo>
                    <a:pt x="0" y="0"/>
                  </a:lnTo>
                  <a:close/>
                  <a:moveTo>
                    <a:pt x="2631" y="3403"/>
                  </a:moveTo>
                  <a:lnTo>
                    <a:pt x="2631" y="15120"/>
                  </a:lnTo>
                  <a:lnTo>
                    <a:pt x="18849" y="15120"/>
                  </a:lnTo>
                  <a:lnTo>
                    <a:pt x="18849" y="3403"/>
                  </a:lnTo>
                  <a:lnTo>
                    <a:pt x="2631" y="3403"/>
                  </a:lnTo>
                  <a:close/>
                  <a:moveTo>
                    <a:pt x="3995" y="5060"/>
                  </a:moveTo>
                  <a:lnTo>
                    <a:pt x="17510" y="5060"/>
                  </a:lnTo>
                  <a:lnTo>
                    <a:pt x="17510" y="13433"/>
                  </a:lnTo>
                  <a:lnTo>
                    <a:pt x="3995" y="13433"/>
                  </a:lnTo>
                  <a:lnTo>
                    <a:pt x="3995" y="5060"/>
                  </a:lnTo>
                  <a:close/>
                  <a:moveTo>
                    <a:pt x="10070" y="16688"/>
                  </a:moveTo>
                  <a:lnTo>
                    <a:pt x="10070" y="18345"/>
                  </a:lnTo>
                  <a:lnTo>
                    <a:pt x="10740" y="18345"/>
                  </a:lnTo>
                  <a:lnTo>
                    <a:pt x="11410" y="18345"/>
                  </a:lnTo>
                  <a:lnTo>
                    <a:pt x="11410" y="16688"/>
                  </a:lnTo>
                  <a:lnTo>
                    <a:pt x="10070" y="16688"/>
                  </a:lnTo>
                  <a:close/>
                  <a:moveTo>
                    <a:pt x="6746" y="19943"/>
                  </a:moveTo>
                  <a:lnTo>
                    <a:pt x="6746" y="21600"/>
                  </a:lnTo>
                  <a:lnTo>
                    <a:pt x="10884" y="21600"/>
                  </a:lnTo>
                  <a:lnTo>
                    <a:pt x="14998" y="21600"/>
                  </a:lnTo>
                  <a:lnTo>
                    <a:pt x="14998" y="19943"/>
                  </a:lnTo>
                  <a:lnTo>
                    <a:pt x="6746" y="19943"/>
                  </a:lnTo>
                  <a:close/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22860" rIns="22860" anchor="ctr"/>
            <a:lstStyle/>
            <a:p>
              <a:pPr defTabSz="228600">
                <a:lnSpc>
                  <a:spcPct val="93000"/>
                </a:lnSpc>
                <a:defRPr sz="1800">
                  <a:latin typeface="Open Sans"/>
                  <a:ea typeface="Open Sans"/>
                  <a:cs typeface="Open Sans"/>
                  <a:sym typeface="Open Sans"/>
                </a:defRPr>
              </a:pPr>
              <a:endParaRPr sz="900" dirty="0"/>
            </a:p>
          </p:txBody>
        </p:sp>
        <p:sp>
          <p:nvSpPr>
            <p:cNvPr id="21" name="TextBox 17">
              <a:extLst>
                <a:ext uri="{FF2B5EF4-FFF2-40B4-BE49-F238E27FC236}">
                  <a16:creationId xmlns:a16="http://schemas.microsoft.com/office/drawing/2014/main" id="{927DF210-7557-4D21-B24E-82B56D8BA5E7}"/>
                </a:ext>
              </a:extLst>
            </p:cNvPr>
            <p:cNvSpPr txBox="1"/>
            <p:nvPr/>
          </p:nvSpPr>
          <p:spPr>
            <a:xfrm>
              <a:off x="1378232" y="3071563"/>
              <a:ext cx="4367547" cy="954107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r>
                <a:rPr lang="de-DE" sz="2800" b="1" dirty="0">
                  <a:solidFill>
                    <a:srgbClr val="53C2E5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Nicht verfügbar für Anwender</a:t>
              </a:r>
              <a:endParaRPr lang="de-DE" sz="2800" dirty="0">
                <a:solidFill>
                  <a:srgbClr val="53C2E5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6612D731-F396-42C6-B8B4-BFEF3244B441}"/>
              </a:ext>
            </a:extLst>
          </p:cNvPr>
          <p:cNvGrpSpPr/>
          <p:nvPr/>
        </p:nvGrpSpPr>
        <p:grpSpPr>
          <a:xfrm>
            <a:off x="225048" y="4418600"/>
            <a:ext cx="5617464" cy="731520"/>
            <a:chOff x="225048" y="4418600"/>
            <a:chExt cx="5617464" cy="731520"/>
          </a:xfrm>
        </p:grpSpPr>
        <p:sp>
          <p:nvSpPr>
            <p:cNvPr id="16" name="Oval 12">
              <a:extLst>
                <a:ext uri="{FF2B5EF4-FFF2-40B4-BE49-F238E27FC236}">
                  <a16:creationId xmlns:a16="http://schemas.microsoft.com/office/drawing/2014/main" id="{2C82246E-AC26-4251-A476-A2371A115D93}"/>
                </a:ext>
              </a:extLst>
            </p:cNvPr>
            <p:cNvSpPr/>
            <p:nvPr/>
          </p:nvSpPr>
          <p:spPr>
            <a:xfrm>
              <a:off x="225048" y="4418600"/>
              <a:ext cx="731520" cy="731520"/>
            </a:xfrm>
            <a:prstGeom prst="ellipse">
              <a:avLst/>
            </a:prstGeom>
            <a:solidFill>
              <a:srgbClr val="72C8B5"/>
            </a:solidFill>
            <a:ln w="12700" cap="flat">
              <a:solidFill>
                <a:srgbClr val="53C2C4"/>
              </a:solidFill>
              <a:miter lim="400000"/>
            </a:ln>
            <a:effectLst>
              <a:outerShdw blurRad="38100" dist="25400" dir="5400000" rotWithShape="0">
                <a:srgbClr val="000000">
                  <a:alpha val="50000"/>
                </a:srgb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5400" tIns="25400" rIns="25400" bIns="25400" numCol="1" spcCol="38100" rtlCol="0" anchor="ctr">
              <a:spAutoFit/>
            </a:bodyPr>
            <a:lstStyle/>
            <a:p>
              <a:pPr algn="ctr" defTabSz="412750" hangingPunct="0"/>
              <a:endParaRPr lang="en-US" sz="1600" dirty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endParaRPr>
            </a:p>
          </p:txBody>
        </p:sp>
        <p:sp>
          <p:nvSpPr>
            <p:cNvPr id="22" name="TextBox 18">
              <a:extLst>
                <a:ext uri="{FF2B5EF4-FFF2-40B4-BE49-F238E27FC236}">
                  <a16:creationId xmlns:a16="http://schemas.microsoft.com/office/drawing/2014/main" id="{605907F2-4D74-4FD9-AF62-4C55A573C63A}"/>
                </a:ext>
              </a:extLst>
            </p:cNvPr>
            <p:cNvSpPr txBox="1"/>
            <p:nvPr/>
          </p:nvSpPr>
          <p:spPr>
            <a:xfrm>
              <a:off x="1378232" y="4525257"/>
              <a:ext cx="4464280" cy="523220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r>
                <a:rPr lang="de-DE" sz="2800" b="1" dirty="0">
                  <a:solidFill>
                    <a:srgbClr val="72C8B5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Nicht Tenant-spezifisch</a:t>
              </a:r>
              <a:endParaRPr lang="de-DE" sz="28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3" name="Shape">
              <a:extLst>
                <a:ext uri="{FF2B5EF4-FFF2-40B4-BE49-F238E27FC236}">
                  <a16:creationId xmlns:a16="http://schemas.microsoft.com/office/drawing/2014/main" id="{849D2028-6EF0-4E96-B769-238D0753A1FE}"/>
                </a:ext>
              </a:extLst>
            </p:cNvPr>
            <p:cNvSpPr/>
            <p:nvPr/>
          </p:nvSpPr>
          <p:spPr>
            <a:xfrm>
              <a:off x="465188" y="4603372"/>
              <a:ext cx="274320" cy="3657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80" h="21600" extrusionOk="0">
                  <a:moveTo>
                    <a:pt x="9856" y="0"/>
                  </a:moveTo>
                  <a:cubicBezTo>
                    <a:pt x="7173" y="0"/>
                    <a:pt x="4736" y="811"/>
                    <a:pt x="2879" y="2251"/>
                  </a:cubicBezTo>
                  <a:cubicBezTo>
                    <a:pt x="-960" y="5162"/>
                    <a:pt x="-960" y="9933"/>
                    <a:pt x="2879" y="12907"/>
                  </a:cubicBezTo>
                  <a:lnTo>
                    <a:pt x="4110" y="11973"/>
                  </a:lnTo>
                  <a:cubicBezTo>
                    <a:pt x="1014" y="9532"/>
                    <a:pt x="1014" y="5627"/>
                    <a:pt x="4110" y="3185"/>
                  </a:cubicBezTo>
                  <a:cubicBezTo>
                    <a:pt x="5637" y="2027"/>
                    <a:pt x="7709" y="1365"/>
                    <a:pt x="9856" y="1365"/>
                  </a:cubicBezTo>
                  <a:cubicBezTo>
                    <a:pt x="12002" y="1365"/>
                    <a:pt x="14011" y="2027"/>
                    <a:pt x="15538" y="3185"/>
                  </a:cubicBezTo>
                  <a:cubicBezTo>
                    <a:pt x="18675" y="5627"/>
                    <a:pt x="18675" y="9532"/>
                    <a:pt x="15538" y="11973"/>
                  </a:cubicBezTo>
                  <a:lnTo>
                    <a:pt x="16801" y="12907"/>
                  </a:lnTo>
                  <a:cubicBezTo>
                    <a:pt x="20640" y="9996"/>
                    <a:pt x="20640" y="5225"/>
                    <a:pt x="16801" y="2251"/>
                  </a:cubicBezTo>
                  <a:cubicBezTo>
                    <a:pt x="14943" y="811"/>
                    <a:pt x="12415" y="0"/>
                    <a:pt x="9856" y="0"/>
                  </a:cubicBezTo>
                  <a:close/>
                  <a:moveTo>
                    <a:pt x="9856" y="3424"/>
                  </a:moveTo>
                  <a:cubicBezTo>
                    <a:pt x="6927" y="3424"/>
                    <a:pt x="4489" y="5219"/>
                    <a:pt x="4489" y="7471"/>
                  </a:cubicBezTo>
                  <a:cubicBezTo>
                    <a:pt x="4489" y="9693"/>
                    <a:pt x="6886" y="11542"/>
                    <a:pt x="9856" y="11542"/>
                  </a:cubicBezTo>
                  <a:cubicBezTo>
                    <a:pt x="12784" y="11542"/>
                    <a:pt x="15159" y="9693"/>
                    <a:pt x="15159" y="7471"/>
                  </a:cubicBezTo>
                  <a:cubicBezTo>
                    <a:pt x="15160" y="5219"/>
                    <a:pt x="12826" y="3424"/>
                    <a:pt x="9856" y="3424"/>
                  </a:cubicBezTo>
                  <a:close/>
                  <a:moveTo>
                    <a:pt x="9856" y="4789"/>
                  </a:moveTo>
                  <a:cubicBezTo>
                    <a:pt x="11794" y="4789"/>
                    <a:pt x="13392" y="5970"/>
                    <a:pt x="13392" y="7471"/>
                  </a:cubicBezTo>
                  <a:cubicBezTo>
                    <a:pt x="13392" y="8942"/>
                    <a:pt x="11836" y="10201"/>
                    <a:pt x="9856" y="10201"/>
                  </a:cubicBezTo>
                  <a:cubicBezTo>
                    <a:pt x="7917" y="10201"/>
                    <a:pt x="6257" y="8942"/>
                    <a:pt x="6257" y="7471"/>
                  </a:cubicBezTo>
                  <a:cubicBezTo>
                    <a:pt x="6257" y="5970"/>
                    <a:pt x="7876" y="4789"/>
                    <a:pt x="9856" y="4789"/>
                  </a:cubicBezTo>
                  <a:close/>
                  <a:moveTo>
                    <a:pt x="6099" y="14608"/>
                  </a:moveTo>
                  <a:lnTo>
                    <a:pt x="4678" y="15278"/>
                  </a:lnTo>
                  <a:lnTo>
                    <a:pt x="9856" y="21600"/>
                  </a:lnTo>
                  <a:lnTo>
                    <a:pt x="15002" y="15278"/>
                  </a:lnTo>
                  <a:lnTo>
                    <a:pt x="13581" y="14608"/>
                  </a:lnTo>
                  <a:lnTo>
                    <a:pt x="9856" y="19062"/>
                  </a:lnTo>
                  <a:lnTo>
                    <a:pt x="6099" y="14608"/>
                  </a:lnTo>
                  <a:close/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45719" rIns="45719" anchor="ctr"/>
            <a:lstStyle>
              <a:defPPr marL="0" marR="0" indent="0" algn="l" defTabSz="9144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</a:defRPr>
              </a:defPPr>
              <a:lvl1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1pPr>
              <a:lvl2pPr marL="0" marR="0" indent="2286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2pPr>
              <a:lvl3pPr marL="0" marR="0" indent="4572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3pPr>
              <a:lvl4pPr marL="0" marR="0" indent="6858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4pPr>
              <a:lvl5pPr marL="0" marR="0" indent="9144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5pPr>
              <a:lvl6pPr marL="0" marR="0" indent="11430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6pPr>
              <a:lvl7pPr marL="0" marR="0" indent="13716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7pPr>
              <a:lvl8pPr marL="0" marR="0" indent="16002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8pPr>
              <a:lvl9pPr marL="0" marR="0" indent="18288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9pPr>
            </a:lstStyle>
            <a:p>
              <a:pPr algn="l" defTabSz="457200">
                <a:lnSpc>
                  <a:spcPct val="93000"/>
                </a:lnSpc>
                <a:defRPr sz="1800">
                  <a:latin typeface="Open Sans"/>
                  <a:ea typeface="Open Sans"/>
                  <a:cs typeface="Open Sans"/>
                  <a:sym typeface="Open Sans"/>
                </a:defRPr>
              </a:pPr>
              <a:endParaRPr dirty="0"/>
            </a:p>
          </p:txBody>
        </p:sp>
      </p:grp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E62180DF-9859-4D19-8D38-017F0426ADC8}"/>
              </a:ext>
            </a:extLst>
          </p:cNvPr>
          <p:cNvGrpSpPr/>
          <p:nvPr/>
        </p:nvGrpSpPr>
        <p:grpSpPr>
          <a:xfrm>
            <a:off x="225048" y="1830308"/>
            <a:ext cx="5520731" cy="954107"/>
            <a:chOff x="225048" y="1830308"/>
            <a:chExt cx="5520731" cy="954107"/>
          </a:xfrm>
        </p:grpSpPr>
        <p:sp>
          <p:nvSpPr>
            <p:cNvPr id="18" name="Oval 14">
              <a:extLst>
                <a:ext uri="{FF2B5EF4-FFF2-40B4-BE49-F238E27FC236}">
                  <a16:creationId xmlns:a16="http://schemas.microsoft.com/office/drawing/2014/main" id="{24802968-4129-42A4-A9C3-F974E1B04D20}"/>
                </a:ext>
              </a:extLst>
            </p:cNvPr>
            <p:cNvSpPr/>
            <p:nvPr/>
          </p:nvSpPr>
          <p:spPr>
            <a:xfrm>
              <a:off x="225048" y="1941602"/>
              <a:ext cx="731520" cy="731520"/>
            </a:xfrm>
            <a:prstGeom prst="ellipse">
              <a:avLst/>
            </a:prstGeom>
            <a:solidFill>
              <a:srgbClr val="533F6F"/>
            </a:solidFill>
            <a:ln w="12700" cap="flat">
              <a:noFill/>
              <a:miter lim="400000"/>
            </a:ln>
            <a:effectLst>
              <a:outerShdw blurRad="38100" dist="25400" dir="5400000" rotWithShape="0">
                <a:srgbClr val="000000">
                  <a:alpha val="50000"/>
                </a:srgb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5400" tIns="25400" rIns="25400" bIns="25400" numCol="1" spcCol="38100" rtlCol="0" anchor="ctr">
              <a:spAutoFit/>
            </a:bodyPr>
            <a:lstStyle/>
            <a:p>
              <a:pPr algn="ctr" defTabSz="412750" hangingPunct="0"/>
              <a:endParaRPr lang="en-US" sz="1600" dirty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endParaRPr>
            </a:p>
          </p:txBody>
        </p:sp>
        <p:sp>
          <p:nvSpPr>
            <p:cNvPr id="20" name="TextBox 16">
              <a:extLst>
                <a:ext uri="{FF2B5EF4-FFF2-40B4-BE49-F238E27FC236}">
                  <a16:creationId xmlns:a16="http://schemas.microsoft.com/office/drawing/2014/main" id="{645112B8-4769-47E7-B7C7-B78FFF461626}"/>
                </a:ext>
              </a:extLst>
            </p:cNvPr>
            <p:cNvSpPr txBox="1"/>
            <p:nvPr/>
          </p:nvSpPr>
          <p:spPr>
            <a:xfrm>
              <a:off x="1378232" y="1830308"/>
              <a:ext cx="4367547" cy="954107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r>
                <a:rPr lang="de-DE" sz="2800" b="1" dirty="0">
                  <a:solidFill>
                    <a:srgbClr val="533F6F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Administratorberechtigung erforderlich</a:t>
              </a:r>
            </a:p>
          </p:txBody>
        </p:sp>
        <p:sp>
          <p:nvSpPr>
            <p:cNvPr id="24" name="Shape">
              <a:extLst>
                <a:ext uri="{FF2B5EF4-FFF2-40B4-BE49-F238E27FC236}">
                  <a16:creationId xmlns:a16="http://schemas.microsoft.com/office/drawing/2014/main" id="{83A33767-7C79-47B5-8798-5A75236F4CC9}"/>
                </a:ext>
              </a:extLst>
            </p:cNvPr>
            <p:cNvSpPr/>
            <p:nvPr/>
          </p:nvSpPr>
          <p:spPr>
            <a:xfrm>
              <a:off x="388131" y="2134727"/>
              <a:ext cx="351377" cy="3513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665" y="21600"/>
                  </a:moveTo>
                  <a:lnTo>
                    <a:pt x="8812" y="16319"/>
                  </a:lnTo>
                  <a:lnTo>
                    <a:pt x="8812" y="18037"/>
                  </a:lnTo>
                  <a:lnTo>
                    <a:pt x="9034" y="17814"/>
                  </a:lnTo>
                  <a:lnTo>
                    <a:pt x="9989" y="18864"/>
                  </a:lnTo>
                  <a:lnTo>
                    <a:pt x="7444" y="21346"/>
                  </a:lnTo>
                  <a:lnTo>
                    <a:pt x="7444" y="13202"/>
                  </a:lnTo>
                  <a:lnTo>
                    <a:pt x="13965" y="19119"/>
                  </a:lnTo>
                  <a:lnTo>
                    <a:pt x="19405" y="2195"/>
                  </a:lnTo>
                  <a:lnTo>
                    <a:pt x="2481" y="8271"/>
                  </a:lnTo>
                  <a:lnTo>
                    <a:pt x="6140" y="11770"/>
                  </a:lnTo>
                  <a:lnTo>
                    <a:pt x="13138" y="6458"/>
                  </a:lnTo>
                  <a:lnTo>
                    <a:pt x="13965" y="7571"/>
                  </a:lnTo>
                  <a:lnTo>
                    <a:pt x="6076" y="13615"/>
                  </a:lnTo>
                  <a:lnTo>
                    <a:pt x="0" y="7698"/>
                  </a:lnTo>
                  <a:lnTo>
                    <a:pt x="21600" y="0"/>
                  </a:lnTo>
                  <a:lnTo>
                    <a:pt x="14665" y="21600"/>
                  </a:lnTo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45719" rIns="45719" anchor="ctr"/>
            <a:lstStyle>
              <a:defPPr marL="0" marR="0" indent="0" algn="l" defTabSz="9144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</a:defRPr>
              </a:defPPr>
              <a:lvl1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1pPr>
              <a:lvl2pPr marL="0" marR="0" indent="2286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2pPr>
              <a:lvl3pPr marL="0" marR="0" indent="4572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3pPr>
              <a:lvl4pPr marL="0" marR="0" indent="6858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4pPr>
              <a:lvl5pPr marL="0" marR="0" indent="9144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5pPr>
              <a:lvl6pPr marL="0" marR="0" indent="11430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6pPr>
              <a:lvl7pPr marL="0" marR="0" indent="13716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7pPr>
              <a:lvl8pPr marL="0" marR="0" indent="16002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8pPr>
              <a:lvl9pPr marL="0" marR="0" indent="18288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50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Light"/>
                  <a:ea typeface="Helvetica Light"/>
                  <a:cs typeface="Helvetica Light"/>
                  <a:sym typeface="Helvetica Light"/>
                </a:defRPr>
              </a:lvl9pPr>
            </a:lstStyle>
            <a:p>
              <a:pPr algn="l" defTabSz="457200">
                <a:lnSpc>
                  <a:spcPct val="93000"/>
                </a:lnSpc>
                <a:defRPr sz="1800">
                  <a:latin typeface="Open Sans"/>
                  <a:ea typeface="Open Sans"/>
                  <a:cs typeface="Open Sans"/>
                  <a:sym typeface="Open Sans"/>
                </a:defRPr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49870334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41</Words>
  <Application>Microsoft Office PowerPoint</Application>
  <PresentationFormat>Breitbild</PresentationFormat>
  <Paragraphs>180</Paragraphs>
  <Slides>30</Slides>
  <Notes>0</Notes>
  <HiddenSlides>1</HiddenSlides>
  <MMClips>0</MMClips>
  <ScaleCrop>false</ScaleCrop>
  <HeadingPairs>
    <vt:vector size="6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30</vt:i4>
      </vt:variant>
    </vt:vector>
  </HeadingPairs>
  <TitlesOfParts>
    <vt:vector size="38" baseType="lpstr">
      <vt:lpstr>Helvetica Light</vt:lpstr>
      <vt:lpstr>Raleway</vt:lpstr>
      <vt:lpstr>Open Sans</vt:lpstr>
      <vt:lpstr>Segoe UI Light</vt:lpstr>
      <vt:lpstr>Arial</vt:lpstr>
      <vt:lpstr>Wingdings</vt:lpstr>
      <vt:lpstr>Calibri</vt:lpstr>
      <vt:lpstr>Office</vt:lpstr>
      <vt:lpstr>Überwachung der Office 365 Anwendererfahrung</vt:lpstr>
      <vt:lpstr>PowerPoint-Präsentation</vt:lpstr>
      <vt:lpstr>Überwachung der Office 365 Benutzererfahrung</vt:lpstr>
      <vt:lpstr>Verlagerung der Monitoring-Anforderungen</vt:lpstr>
      <vt:lpstr>PowerPoint-Präsentation</vt:lpstr>
      <vt:lpstr>PowerPoint-Präsentation</vt:lpstr>
      <vt:lpstr>Herausforderungen in der Cloud-Welt</vt:lpstr>
      <vt:lpstr>Was bietet uns Microsoft? </vt:lpstr>
      <vt:lpstr>PowerPoint-Präsentation</vt:lpstr>
      <vt:lpstr>PowerPoint-Präsentation</vt:lpstr>
      <vt:lpstr>PowerPoint-Präsentation</vt:lpstr>
      <vt:lpstr>Probleme, die Sie kennen sollten</vt:lpstr>
      <vt:lpstr>PowerPoint-Präsentation</vt:lpstr>
      <vt:lpstr>PowerPoint-Präsentation</vt:lpstr>
      <vt:lpstr>Traditionelle Lücken bei der Anwendungsüberwachung</vt:lpstr>
      <vt:lpstr>PowerPoint-Präsentation</vt:lpstr>
      <vt:lpstr>Die Lösung zur Anwendungsüberwachung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Remote Proben</vt:lpstr>
      <vt:lpstr>PowerPoint-Präsentation</vt:lpstr>
      <vt:lpstr>PowerPoint-Präsentation</vt:lpstr>
      <vt:lpstr>Fragen?</vt:lpstr>
      <vt:lpstr>Ich freue mich auf Ihr Feedback!</vt:lpstr>
      <vt:lpstr>Vielen Dank!</vt:lpstr>
    </vt:vector>
  </TitlesOfParts>
  <Company>Granikos GmbH &amp; Co. K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Überwachung der Office 365 Endbenutzererfahrung - Ist das notwendig?</dc:title>
  <dc:creator>Thomas.Stensitzki@Granikos.eu</dc:creator>
  <cp:lastModifiedBy>Thomas Stensitzki</cp:lastModifiedBy>
  <cp:revision>23</cp:revision>
  <dcterms:created xsi:type="dcterms:W3CDTF">2018-06-14T07:09:38Z</dcterms:created>
  <dcterms:modified xsi:type="dcterms:W3CDTF">2019-07-27T12:12:29Z</dcterms:modified>
</cp:coreProperties>
</file>